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969" r:id="rId2"/>
  </p:sldMasterIdLst>
  <p:notesMasterIdLst>
    <p:notesMasterId r:id="rId12"/>
  </p:notesMasterIdLst>
  <p:sldIdLst>
    <p:sldId id="256" r:id="rId3"/>
    <p:sldId id="341" r:id="rId4"/>
    <p:sldId id="342" r:id="rId5"/>
    <p:sldId id="358" r:id="rId6"/>
    <p:sldId id="357" r:id="rId7"/>
    <p:sldId id="359" r:id="rId8"/>
    <p:sldId id="354" r:id="rId9"/>
    <p:sldId id="360" r:id="rId10"/>
    <p:sldId id="340" r:id="rId11"/>
  </p:sldIdLst>
  <p:sldSz cx="6858000" cy="5143500"/>
  <p:notesSz cx="6805613" cy="9944100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620" userDrawn="1">
          <p15:clr>
            <a:srgbClr val="A4A3A4"/>
          </p15:clr>
        </p15:guide>
        <p15:guide id="4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lalikina" initials="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AEAEA"/>
    <a:srgbClr val="030395"/>
    <a:srgbClr val="EC75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187" autoAdjust="0"/>
  </p:normalViewPr>
  <p:slideViewPr>
    <p:cSldViewPr snapToGrid="0">
      <p:cViewPr varScale="1">
        <p:scale>
          <a:sx n="136" d="100"/>
          <a:sy n="136" d="100"/>
        </p:scale>
        <p:origin x="168" y="102"/>
      </p:cViewPr>
      <p:guideLst>
        <p:guide orient="horz" pos="2160"/>
        <p:guide pos="2880"/>
        <p:guide orient="horz" pos="16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количество выданных займов, единиц.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количество выданных займов, единиц.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5119256"/>
        <c:axId val="285119648"/>
      </c:barChart>
      <c:catAx>
        <c:axId val="285119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43" baseline="0"/>
            </a:pPr>
            <a:endParaRPr lang="ru-RU"/>
          </a:p>
        </c:txPr>
        <c:crossAx val="285119648"/>
        <c:crosses val="autoZero"/>
        <c:auto val="1"/>
        <c:lblAlgn val="ctr"/>
        <c:lblOffset val="100"/>
        <c:noMultiLvlLbl val="0"/>
      </c:catAx>
      <c:valAx>
        <c:axId val="28511964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8511925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251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52FF5E-63CF-49B2-ABE7-0A859D7D469F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8F5D3A5-21CE-4FE2-92CE-470C2763C592}">
      <dgm:prSet phldrT="[Текст]"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200" b="0" dirty="0" smtClean="0">
              <a:solidFill>
                <a:schemeClr val="tx1"/>
              </a:solidFill>
              <a:latin typeface="Liberation Serif" panose="02020603050405020304" pitchFamily="18" charset="0"/>
            </a:rPr>
            <a:t>Бытовые</a:t>
          </a:r>
          <a:endParaRPr lang="ru-RU" sz="1200" b="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1372F9D3-FDA4-4E56-BD04-3A05FCE52934}" type="parTrans" cxnId="{0BA3AE6D-000D-4EC2-B977-A4670D15B21E}">
      <dgm:prSet/>
      <dgm:spPr/>
      <dgm:t>
        <a:bodyPr/>
        <a:lstStyle/>
        <a:p>
          <a:endParaRPr lang="ru-RU"/>
        </a:p>
      </dgm:t>
    </dgm:pt>
    <dgm:pt modelId="{2A57E884-9038-4272-A1B9-C15682167536}" type="sibTrans" cxnId="{0BA3AE6D-000D-4EC2-B977-A4670D15B21E}">
      <dgm:prSet/>
      <dgm:spPr/>
      <dgm:t>
        <a:bodyPr/>
        <a:lstStyle/>
        <a:p>
          <a:endParaRPr lang="ru-RU"/>
        </a:p>
      </dgm:t>
    </dgm:pt>
    <dgm:pt modelId="{8059904B-D9E9-41AB-BFDF-B4726DC6DB97}">
      <dgm:prSet phldrT="[Текст]"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Юридические</a:t>
          </a:r>
          <a:endParaRPr lang="ru-RU" sz="12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77E44C20-F8C6-4A17-ADEB-58635E54EE2B}" type="parTrans" cxnId="{384D4A12-4755-4CFE-B6AC-9895465B6343}">
      <dgm:prSet/>
      <dgm:spPr/>
      <dgm:t>
        <a:bodyPr/>
        <a:lstStyle/>
        <a:p>
          <a:endParaRPr lang="ru-RU"/>
        </a:p>
      </dgm:t>
    </dgm:pt>
    <dgm:pt modelId="{176595C2-2A42-4D70-8692-0A7AC6AE6386}" type="sibTrans" cxnId="{384D4A12-4755-4CFE-B6AC-9895465B6343}">
      <dgm:prSet/>
      <dgm:spPr/>
      <dgm:t>
        <a:bodyPr/>
        <a:lstStyle/>
        <a:p>
          <a:endParaRPr lang="ru-RU"/>
        </a:p>
      </dgm:t>
    </dgm:pt>
    <dgm:pt modelId="{0E8DAEC5-2592-4AEE-86AA-43742A7E273A}">
      <dgm:prSet phldrT="[Текст]"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Туристические</a:t>
          </a:r>
          <a:endParaRPr lang="ru-RU" sz="12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B01894EA-B227-4C83-BFAE-790F1D19D765}" type="parTrans" cxnId="{7C58BA1E-E7C8-4BEC-8665-9E74F26A54B5}">
      <dgm:prSet/>
      <dgm:spPr/>
      <dgm:t>
        <a:bodyPr/>
        <a:lstStyle/>
        <a:p>
          <a:endParaRPr lang="ru-RU"/>
        </a:p>
      </dgm:t>
    </dgm:pt>
    <dgm:pt modelId="{34D8FC7D-D591-4A31-87BE-FFA28A1B6509}" type="sibTrans" cxnId="{7C58BA1E-E7C8-4BEC-8665-9E74F26A54B5}">
      <dgm:prSet/>
      <dgm:spPr/>
      <dgm:t>
        <a:bodyPr/>
        <a:lstStyle/>
        <a:p>
          <a:endParaRPr lang="ru-RU"/>
        </a:p>
      </dgm:t>
    </dgm:pt>
    <dgm:pt modelId="{3A50A17C-8B2A-4F4F-948F-57E4C8CC60AC}">
      <dgm:prSet phldrT="[Текст]" custT="1"/>
      <dgm:spPr>
        <a:solidFill>
          <a:srgbClr val="EAEAEA"/>
        </a:solidFill>
        <a:ln>
          <a:solidFill>
            <a:schemeClr val="accent2"/>
          </a:solidFill>
        </a:ln>
      </dgm:spPr>
      <dgm:t>
        <a:bodyPr/>
        <a:lstStyle/>
        <a:p>
          <a:r>
            <a:rPr lang="ru-RU" sz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Производственные</a:t>
          </a:r>
          <a:endParaRPr lang="ru-RU" sz="12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ED60C1E3-4C6C-40C9-8A59-8B422C78F58B}" type="parTrans" cxnId="{268AEA0B-3318-48BB-BBBF-1DA6A324F3D2}">
      <dgm:prSet/>
      <dgm:spPr/>
      <dgm:t>
        <a:bodyPr/>
        <a:lstStyle/>
        <a:p>
          <a:endParaRPr lang="ru-RU"/>
        </a:p>
      </dgm:t>
    </dgm:pt>
    <dgm:pt modelId="{B7218A31-0A28-4FAC-856B-071D2A33C103}" type="sibTrans" cxnId="{268AEA0B-3318-48BB-BBBF-1DA6A324F3D2}">
      <dgm:prSet/>
      <dgm:spPr/>
      <dgm:t>
        <a:bodyPr/>
        <a:lstStyle/>
        <a:p>
          <a:endParaRPr lang="ru-RU"/>
        </a:p>
      </dgm:t>
    </dgm:pt>
    <dgm:pt modelId="{5E0A9887-7B3F-45F8-ACC6-7A2E9E2A4457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Образовательные</a:t>
          </a:r>
          <a:endParaRPr lang="ru-RU" sz="12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A57C05CF-29A0-4C21-B20E-F239AB492B51}" type="parTrans" cxnId="{A3FCBDFE-3F02-432C-90D6-3E71088770CD}">
      <dgm:prSet/>
      <dgm:spPr/>
      <dgm:t>
        <a:bodyPr/>
        <a:lstStyle/>
        <a:p>
          <a:endParaRPr lang="ru-RU"/>
        </a:p>
      </dgm:t>
    </dgm:pt>
    <dgm:pt modelId="{5857DE42-3CD6-494D-9697-EBA7550E404C}" type="sibTrans" cxnId="{A3FCBDFE-3F02-432C-90D6-3E71088770CD}">
      <dgm:prSet/>
      <dgm:spPr/>
      <dgm:t>
        <a:bodyPr/>
        <a:lstStyle/>
        <a:p>
          <a:endParaRPr lang="ru-RU"/>
        </a:p>
      </dgm:t>
    </dgm:pt>
    <dgm:pt modelId="{09BE6B40-F8E4-4C30-AF8C-51E1089C4448}" type="pres">
      <dgm:prSet presAssocID="{6F52FF5E-63CF-49B2-ABE7-0A859D7D469F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4E870CD-80E5-47D4-95CC-FBD0605AE2FA}" type="pres">
      <dgm:prSet presAssocID="{98F5D3A5-21CE-4FE2-92CE-470C2763C592}" presName="node" presStyleLbl="node1" presStyleIdx="0" presStyleCnt="5" custScaleX="239332" custScaleY="787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1B6595-4485-4C9B-8839-2069CCCE03E6}" type="pres">
      <dgm:prSet presAssocID="{98F5D3A5-21CE-4FE2-92CE-470C2763C592}" presName="spNode" presStyleCnt="0"/>
      <dgm:spPr/>
    </dgm:pt>
    <dgm:pt modelId="{6A794CD4-9BC0-4D06-AAC5-1BBFC6D3C0A5}" type="pres">
      <dgm:prSet presAssocID="{2A57E884-9038-4272-A1B9-C15682167536}" presName="sibTrans" presStyleLbl="sibTrans1D1" presStyleIdx="0" presStyleCnt="5"/>
      <dgm:spPr/>
      <dgm:t>
        <a:bodyPr/>
        <a:lstStyle/>
        <a:p>
          <a:endParaRPr lang="ru-RU"/>
        </a:p>
      </dgm:t>
    </dgm:pt>
    <dgm:pt modelId="{BBAFE823-1171-4CCD-98BF-5865D8358970}" type="pres">
      <dgm:prSet presAssocID="{8059904B-D9E9-41AB-BFDF-B4726DC6DB97}" presName="node" presStyleLbl="node1" presStyleIdx="1" presStyleCnt="5" custScaleX="212901" custScaleY="76737" custRadScaleRad="105706" custRadScaleInc="-354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24CF5-F9C2-41F5-BF79-E9D271BD4EEF}" type="pres">
      <dgm:prSet presAssocID="{8059904B-D9E9-41AB-BFDF-B4726DC6DB97}" presName="spNode" presStyleCnt="0"/>
      <dgm:spPr/>
    </dgm:pt>
    <dgm:pt modelId="{BF0C7BD8-D76E-4F2E-A416-69983F797FCD}" type="pres">
      <dgm:prSet presAssocID="{176595C2-2A42-4D70-8692-0A7AC6AE6386}" presName="sibTrans" presStyleLbl="sibTrans1D1" presStyleIdx="1" presStyleCnt="5"/>
      <dgm:spPr/>
      <dgm:t>
        <a:bodyPr/>
        <a:lstStyle/>
        <a:p>
          <a:endParaRPr lang="ru-RU"/>
        </a:p>
      </dgm:t>
    </dgm:pt>
    <dgm:pt modelId="{A093D1D1-A7BF-4679-AB40-6844BF9A0555}" type="pres">
      <dgm:prSet presAssocID="{0E8DAEC5-2592-4AEE-86AA-43742A7E273A}" presName="node" presStyleLbl="node1" presStyleIdx="2" presStyleCnt="5" custScaleX="219121" custScaleY="78255" custRadScaleRad="113180" custRadScaleInc="-348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496951-62D9-42D7-AA4F-08B811873AC8}" type="pres">
      <dgm:prSet presAssocID="{0E8DAEC5-2592-4AEE-86AA-43742A7E273A}" presName="spNode" presStyleCnt="0"/>
      <dgm:spPr/>
    </dgm:pt>
    <dgm:pt modelId="{77F03C6C-C239-4622-950C-FE778A83B4CC}" type="pres">
      <dgm:prSet presAssocID="{34D8FC7D-D591-4A31-87BE-FFA28A1B6509}" presName="sibTrans" presStyleLbl="sibTrans1D1" presStyleIdx="2" presStyleCnt="5"/>
      <dgm:spPr/>
      <dgm:t>
        <a:bodyPr/>
        <a:lstStyle/>
        <a:p>
          <a:endParaRPr lang="ru-RU"/>
        </a:p>
      </dgm:t>
    </dgm:pt>
    <dgm:pt modelId="{77716577-CABF-42BE-A701-FC1A219EA3B0}" type="pres">
      <dgm:prSet presAssocID="{5E0A9887-7B3F-45F8-ACC6-7A2E9E2A4457}" presName="node" presStyleLbl="node1" presStyleIdx="3" presStyleCnt="5" custScaleX="225315" custScaleY="80030" custRadScaleRad="131600" custRadScaleInc="865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6129B0-EA83-4E62-B7D0-BDCB8E74E4BC}" type="pres">
      <dgm:prSet presAssocID="{5E0A9887-7B3F-45F8-ACC6-7A2E9E2A4457}" presName="spNode" presStyleCnt="0"/>
      <dgm:spPr/>
    </dgm:pt>
    <dgm:pt modelId="{F47C8EDD-81BF-4950-A4D2-9585A1D307DC}" type="pres">
      <dgm:prSet presAssocID="{5857DE42-3CD6-494D-9697-EBA7550E404C}" presName="sibTrans" presStyleLbl="sibTrans1D1" presStyleIdx="3" presStyleCnt="5"/>
      <dgm:spPr/>
      <dgm:t>
        <a:bodyPr/>
        <a:lstStyle/>
        <a:p>
          <a:endParaRPr lang="ru-RU"/>
        </a:p>
      </dgm:t>
    </dgm:pt>
    <dgm:pt modelId="{6E209CC4-BFBE-46EA-A5AD-D0E4B018FFF6}" type="pres">
      <dgm:prSet presAssocID="{3A50A17C-8B2A-4F4F-948F-57E4C8CC60AC}" presName="node" presStyleLbl="node1" presStyleIdx="4" presStyleCnt="5" custScaleX="237892" custScaleY="789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BB9311-29C3-44D8-986E-74E7BEBC0D8F}" type="pres">
      <dgm:prSet presAssocID="{3A50A17C-8B2A-4F4F-948F-57E4C8CC60AC}" presName="spNode" presStyleCnt="0"/>
      <dgm:spPr/>
    </dgm:pt>
    <dgm:pt modelId="{EACD2E4E-71F1-44D0-91DE-5BB641200D2A}" type="pres">
      <dgm:prSet presAssocID="{B7218A31-0A28-4FAC-856B-071D2A33C103}" presName="sibTrans" presStyleLbl="sibTrans1D1" presStyleIdx="4" presStyleCnt="5"/>
      <dgm:spPr/>
      <dgm:t>
        <a:bodyPr/>
        <a:lstStyle/>
        <a:p>
          <a:endParaRPr lang="ru-RU"/>
        </a:p>
      </dgm:t>
    </dgm:pt>
  </dgm:ptLst>
  <dgm:cxnLst>
    <dgm:cxn modelId="{4B6F4243-AD49-4871-841F-4C43D45E935D}" type="presOf" srcId="{5E0A9887-7B3F-45F8-ACC6-7A2E9E2A4457}" destId="{77716577-CABF-42BE-A701-FC1A219EA3B0}" srcOrd="0" destOrd="0" presId="urn:microsoft.com/office/officeart/2005/8/layout/cycle5"/>
    <dgm:cxn modelId="{E1886405-7DE9-4A18-A70A-443F1B125B15}" type="presOf" srcId="{6F52FF5E-63CF-49B2-ABE7-0A859D7D469F}" destId="{09BE6B40-F8E4-4C30-AF8C-51E1089C4448}" srcOrd="0" destOrd="0" presId="urn:microsoft.com/office/officeart/2005/8/layout/cycle5"/>
    <dgm:cxn modelId="{06702E12-015D-412A-9FFC-06880E57D875}" type="presOf" srcId="{3A50A17C-8B2A-4F4F-948F-57E4C8CC60AC}" destId="{6E209CC4-BFBE-46EA-A5AD-D0E4B018FFF6}" srcOrd="0" destOrd="0" presId="urn:microsoft.com/office/officeart/2005/8/layout/cycle5"/>
    <dgm:cxn modelId="{384D4A12-4755-4CFE-B6AC-9895465B6343}" srcId="{6F52FF5E-63CF-49B2-ABE7-0A859D7D469F}" destId="{8059904B-D9E9-41AB-BFDF-B4726DC6DB97}" srcOrd="1" destOrd="0" parTransId="{77E44C20-F8C6-4A17-ADEB-58635E54EE2B}" sibTransId="{176595C2-2A42-4D70-8692-0A7AC6AE6386}"/>
    <dgm:cxn modelId="{BFD75D54-D88F-47CF-93BA-3B87E83FD800}" type="presOf" srcId="{8059904B-D9E9-41AB-BFDF-B4726DC6DB97}" destId="{BBAFE823-1171-4CCD-98BF-5865D8358970}" srcOrd="0" destOrd="0" presId="urn:microsoft.com/office/officeart/2005/8/layout/cycle5"/>
    <dgm:cxn modelId="{6563A1F3-A107-4431-A2D4-77D0DB82E01E}" type="presOf" srcId="{98F5D3A5-21CE-4FE2-92CE-470C2763C592}" destId="{C4E870CD-80E5-47D4-95CC-FBD0605AE2FA}" srcOrd="0" destOrd="0" presId="urn:microsoft.com/office/officeart/2005/8/layout/cycle5"/>
    <dgm:cxn modelId="{0BA3AE6D-000D-4EC2-B977-A4670D15B21E}" srcId="{6F52FF5E-63CF-49B2-ABE7-0A859D7D469F}" destId="{98F5D3A5-21CE-4FE2-92CE-470C2763C592}" srcOrd="0" destOrd="0" parTransId="{1372F9D3-FDA4-4E56-BD04-3A05FCE52934}" sibTransId="{2A57E884-9038-4272-A1B9-C15682167536}"/>
    <dgm:cxn modelId="{625F62C9-ACCB-49D1-BEE4-C2A3E6270109}" type="presOf" srcId="{5857DE42-3CD6-494D-9697-EBA7550E404C}" destId="{F47C8EDD-81BF-4950-A4D2-9585A1D307DC}" srcOrd="0" destOrd="0" presId="urn:microsoft.com/office/officeart/2005/8/layout/cycle5"/>
    <dgm:cxn modelId="{42BF2C29-3888-4F08-A171-EFC0791F2DBB}" type="presOf" srcId="{176595C2-2A42-4D70-8692-0A7AC6AE6386}" destId="{BF0C7BD8-D76E-4F2E-A416-69983F797FCD}" srcOrd="0" destOrd="0" presId="urn:microsoft.com/office/officeart/2005/8/layout/cycle5"/>
    <dgm:cxn modelId="{F03B93B7-837A-414D-A0FB-5D255BFE61ED}" type="presOf" srcId="{2A57E884-9038-4272-A1B9-C15682167536}" destId="{6A794CD4-9BC0-4D06-AAC5-1BBFC6D3C0A5}" srcOrd="0" destOrd="0" presId="urn:microsoft.com/office/officeart/2005/8/layout/cycle5"/>
    <dgm:cxn modelId="{D415DCCA-61FE-45E0-A942-1BF9F05A6B1A}" type="presOf" srcId="{0E8DAEC5-2592-4AEE-86AA-43742A7E273A}" destId="{A093D1D1-A7BF-4679-AB40-6844BF9A0555}" srcOrd="0" destOrd="0" presId="urn:microsoft.com/office/officeart/2005/8/layout/cycle5"/>
    <dgm:cxn modelId="{6E24FA35-348E-4F84-9545-565EDEB5486F}" type="presOf" srcId="{B7218A31-0A28-4FAC-856B-071D2A33C103}" destId="{EACD2E4E-71F1-44D0-91DE-5BB641200D2A}" srcOrd="0" destOrd="0" presId="urn:microsoft.com/office/officeart/2005/8/layout/cycle5"/>
    <dgm:cxn modelId="{1A930519-4929-4FFF-A798-A8D685A86251}" type="presOf" srcId="{34D8FC7D-D591-4A31-87BE-FFA28A1B6509}" destId="{77F03C6C-C239-4622-950C-FE778A83B4CC}" srcOrd="0" destOrd="0" presId="urn:microsoft.com/office/officeart/2005/8/layout/cycle5"/>
    <dgm:cxn modelId="{268AEA0B-3318-48BB-BBBF-1DA6A324F3D2}" srcId="{6F52FF5E-63CF-49B2-ABE7-0A859D7D469F}" destId="{3A50A17C-8B2A-4F4F-948F-57E4C8CC60AC}" srcOrd="4" destOrd="0" parTransId="{ED60C1E3-4C6C-40C9-8A59-8B422C78F58B}" sibTransId="{B7218A31-0A28-4FAC-856B-071D2A33C103}"/>
    <dgm:cxn modelId="{A3FCBDFE-3F02-432C-90D6-3E71088770CD}" srcId="{6F52FF5E-63CF-49B2-ABE7-0A859D7D469F}" destId="{5E0A9887-7B3F-45F8-ACC6-7A2E9E2A4457}" srcOrd="3" destOrd="0" parTransId="{A57C05CF-29A0-4C21-B20E-F239AB492B51}" sibTransId="{5857DE42-3CD6-494D-9697-EBA7550E404C}"/>
    <dgm:cxn modelId="{7C58BA1E-E7C8-4BEC-8665-9E74F26A54B5}" srcId="{6F52FF5E-63CF-49B2-ABE7-0A859D7D469F}" destId="{0E8DAEC5-2592-4AEE-86AA-43742A7E273A}" srcOrd="2" destOrd="0" parTransId="{B01894EA-B227-4C83-BFAE-790F1D19D765}" sibTransId="{34D8FC7D-D591-4A31-87BE-FFA28A1B6509}"/>
    <dgm:cxn modelId="{52278B90-0B29-4266-A986-0F2856B141E3}" type="presParOf" srcId="{09BE6B40-F8E4-4C30-AF8C-51E1089C4448}" destId="{C4E870CD-80E5-47D4-95CC-FBD0605AE2FA}" srcOrd="0" destOrd="0" presId="urn:microsoft.com/office/officeart/2005/8/layout/cycle5"/>
    <dgm:cxn modelId="{0508E918-1739-49D2-BACE-DA3FD84FBEA4}" type="presParOf" srcId="{09BE6B40-F8E4-4C30-AF8C-51E1089C4448}" destId="{571B6595-4485-4C9B-8839-2069CCCE03E6}" srcOrd="1" destOrd="0" presId="urn:microsoft.com/office/officeart/2005/8/layout/cycle5"/>
    <dgm:cxn modelId="{485A11A9-68E8-4845-AD2A-65DA77A15A7D}" type="presParOf" srcId="{09BE6B40-F8E4-4C30-AF8C-51E1089C4448}" destId="{6A794CD4-9BC0-4D06-AAC5-1BBFC6D3C0A5}" srcOrd="2" destOrd="0" presId="urn:microsoft.com/office/officeart/2005/8/layout/cycle5"/>
    <dgm:cxn modelId="{F2CD6461-A771-48BC-B8DC-71D8C202BBAA}" type="presParOf" srcId="{09BE6B40-F8E4-4C30-AF8C-51E1089C4448}" destId="{BBAFE823-1171-4CCD-98BF-5865D8358970}" srcOrd="3" destOrd="0" presId="urn:microsoft.com/office/officeart/2005/8/layout/cycle5"/>
    <dgm:cxn modelId="{7897D516-B2F5-4325-8FA4-D28AE73FF802}" type="presParOf" srcId="{09BE6B40-F8E4-4C30-AF8C-51E1089C4448}" destId="{1A524CF5-F9C2-41F5-BF79-E9D271BD4EEF}" srcOrd="4" destOrd="0" presId="urn:microsoft.com/office/officeart/2005/8/layout/cycle5"/>
    <dgm:cxn modelId="{DCB80572-0686-4672-AB7D-3AF8AFBAA9E3}" type="presParOf" srcId="{09BE6B40-F8E4-4C30-AF8C-51E1089C4448}" destId="{BF0C7BD8-D76E-4F2E-A416-69983F797FCD}" srcOrd="5" destOrd="0" presId="urn:microsoft.com/office/officeart/2005/8/layout/cycle5"/>
    <dgm:cxn modelId="{9FB83F68-CD39-4BE5-B29E-0B2DBC22CC75}" type="presParOf" srcId="{09BE6B40-F8E4-4C30-AF8C-51E1089C4448}" destId="{A093D1D1-A7BF-4679-AB40-6844BF9A0555}" srcOrd="6" destOrd="0" presId="urn:microsoft.com/office/officeart/2005/8/layout/cycle5"/>
    <dgm:cxn modelId="{69822146-4C5E-4772-A534-3BC88C32EA62}" type="presParOf" srcId="{09BE6B40-F8E4-4C30-AF8C-51E1089C4448}" destId="{F1496951-62D9-42D7-AA4F-08B811873AC8}" srcOrd="7" destOrd="0" presId="urn:microsoft.com/office/officeart/2005/8/layout/cycle5"/>
    <dgm:cxn modelId="{30CEAB9A-468C-4BB4-8920-AC4E3F8E6192}" type="presParOf" srcId="{09BE6B40-F8E4-4C30-AF8C-51E1089C4448}" destId="{77F03C6C-C239-4622-950C-FE778A83B4CC}" srcOrd="8" destOrd="0" presId="urn:microsoft.com/office/officeart/2005/8/layout/cycle5"/>
    <dgm:cxn modelId="{F552701C-7B51-4F6B-89F5-801765D8C6AB}" type="presParOf" srcId="{09BE6B40-F8E4-4C30-AF8C-51E1089C4448}" destId="{77716577-CABF-42BE-A701-FC1A219EA3B0}" srcOrd="9" destOrd="0" presId="urn:microsoft.com/office/officeart/2005/8/layout/cycle5"/>
    <dgm:cxn modelId="{5495857F-E819-42EE-8BA1-28A0C59B0A0F}" type="presParOf" srcId="{09BE6B40-F8E4-4C30-AF8C-51E1089C4448}" destId="{716129B0-EA83-4E62-B7D0-BDCB8E74E4BC}" srcOrd="10" destOrd="0" presId="urn:microsoft.com/office/officeart/2005/8/layout/cycle5"/>
    <dgm:cxn modelId="{48EAE917-6BBF-4832-AA35-2422D280A39B}" type="presParOf" srcId="{09BE6B40-F8E4-4C30-AF8C-51E1089C4448}" destId="{F47C8EDD-81BF-4950-A4D2-9585A1D307DC}" srcOrd="11" destOrd="0" presId="urn:microsoft.com/office/officeart/2005/8/layout/cycle5"/>
    <dgm:cxn modelId="{F177780D-EDA4-464C-AC19-4DECBAA0C281}" type="presParOf" srcId="{09BE6B40-F8E4-4C30-AF8C-51E1089C4448}" destId="{6E209CC4-BFBE-46EA-A5AD-D0E4B018FFF6}" srcOrd="12" destOrd="0" presId="urn:microsoft.com/office/officeart/2005/8/layout/cycle5"/>
    <dgm:cxn modelId="{50204C03-4CEB-4094-ACBB-071A1534A013}" type="presParOf" srcId="{09BE6B40-F8E4-4C30-AF8C-51E1089C4448}" destId="{F9BB9311-29C3-44D8-986E-74E7BEBC0D8F}" srcOrd="13" destOrd="0" presId="urn:microsoft.com/office/officeart/2005/8/layout/cycle5"/>
    <dgm:cxn modelId="{CF6FCE34-D446-4F5D-8B88-F69A315D7F8F}" type="presParOf" srcId="{09BE6B40-F8E4-4C30-AF8C-51E1089C4448}" destId="{EACD2E4E-71F1-44D0-91DE-5BB641200D2A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6F783F5-F794-4D63-BCE3-5D4A49BB8197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61057CB-5B58-4F7C-955A-3FE939E09188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Техобслуживание и ремонт автотранспортных средств – 2</a:t>
          </a:r>
          <a:endParaRPr lang="ru-RU" sz="9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65C0A59F-1DFD-4323-9497-41AE2EA2E641}" type="parTrans" cxnId="{A2D2215F-C664-4170-BC7C-45968FB27425}">
      <dgm:prSet/>
      <dgm:spPr/>
      <dgm:t>
        <a:bodyPr/>
        <a:lstStyle/>
        <a:p>
          <a:endParaRPr lang="ru-RU"/>
        </a:p>
      </dgm:t>
    </dgm:pt>
    <dgm:pt modelId="{C12EDE4E-DF80-4FE9-9AC3-95028E183B7B}" type="sibTrans" cxnId="{A2D2215F-C664-4170-BC7C-45968FB27425}">
      <dgm:prSet/>
      <dgm:spPr/>
      <dgm:t>
        <a:bodyPr/>
        <a:lstStyle/>
        <a:p>
          <a:endParaRPr lang="ru-RU"/>
        </a:p>
      </dgm:t>
    </dgm:pt>
    <dgm:pt modelId="{180A921E-40E3-46DB-9B42-64D2FE5318F4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Грузоперевозки – 3</a:t>
          </a:r>
          <a:endParaRPr lang="ru-RU" sz="9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A96385AE-109F-4CC9-AED1-AA393FF8C780}" type="parTrans" cxnId="{B670FB95-59B9-44AA-B792-E2878232B48C}">
      <dgm:prSet/>
      <dgm:spPr/>
      <dgm:t>
        <a:bodyPr/>
        <a:lstStyle/>
        <a:p>
          <a:endParaRPr lang="ru-RU"/>
        </a:p>
      </dgm:t>
    </dgm:pt>
    <dgm:pt modelId="{3029F0E9-D552-487D-8F58-26BC7E869A6A}" type="sibTrans" cxnId="{B670FB95-59B9-44AA-B792-E2878232B48C}">
      <dgm:prSet/>
      <dgm:spPr/>
      <dgm:t>
        <a:bodyPr/>
        <a:lstStyle/>
        <a:p>
          <a:endParaRPr lang="ru-RU"/>
        </a:p>
      </dgm:t>
    </dgm:pt>
    <dgm:pt modelId="{D841B759-66B1-49AC-978B-E62460C36FA3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Производство – 3</a:t>
          </a:r>
          <a:endParaRPr lang="ru-RU" sz="9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950594DA-3EA7-451F-A67A-5B52B8DEF29E}" type="parTrans" cxnId="{8AC55F77-5679-40CF-AC1E-E3F54A6739BA}">
      <dgm:prSet/>
      <dgm:spPr/>
      <dgm:t>
        <a:bodyPr/>
        <a:lstStyle/>
        <a:p>
          <a:endParaRPr lang="ru-RU"/>
        </a:p>
      </dgm:t>
    </dgm:pt>
    <dgm:pt modelId="{43FA6A4F-D6FA-47B1-95B1-74C9C4FB4DE4}" type="sibTrans" cxnId="{8AC55F77-5679-40CF-AC1E-E3F54A6739BA}">
      <dgm:prSet/>
      <dgm:spPr/>
      <dgm:t>
        <a:bodyPr/>
        <a:lstStyle/>
        <a:p>
          <a:endParaRPr lang="ru-RU"/>
        </a:p>
      </dgm:t>
    </dgm:pt>
    <dgm:pt modelId="{69667C0F-245C-4951-8451-0E32ECDB8E7A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Деятельность ресторанов – 1</a:t>
          </a:r>
          <a:endParaRPr lang="ru-RU" sz="9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1EE9AE69-3361-452B-971A-881704C9503B}" type="parTrans" cxnId="{B3915117-BCC4-4A99-B3F1-1A52F37CCF2E}">
      <dgm:prSet/>
      <dgm:spPr/>
      <dgm:t>
        <a:bodyPr/>
        <a:lstStyle/>
        <a:p>
          <a:endParaRPr lang="ru-RU"/>
        </a:p>
      </dgm:t>
    </dgm:pt>
    <dgm:pt modelId="{872C9974-55CF-49D4-AA73-483F46D9B1D9}" type="sibTrans" cxnId="{B3915117-BCC4-4A99-B3F1-1A52F37CCF2E}">
      <dgm:prSet/>
      <dgm:spPr/>
      <dgm:t>
        <a:bodyPr/>
        <a:lstStyle/>
        <a:p>
          <a:endParaRPr lang="ru-RU"/>
        </a:p>
      </dgm:t>
    </dgm:pt>
    <dgm:pt modelId="{80CC9417-8529-430F-A9EC-A09D8B006E27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Дошкольное образование – 1</a:t>
          </a:r>
          <a:endParaRPr lang="ru-RU" sz="9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D7367301-9380-43E1-9EF5-8F23AF0AD984}" type="parTrans" cxnId="{FC8998D4-E929-42D5-B650-84D17CC9468C}">
      <dgm:prSet/>
      <dgm:spPr/>
      <dgm:t>
        <a:bodyPr/>
        <a:lstStyle/>
        <a:p>
          <a:endParaRPr lang="ru-RU"/>
        </a:p>
      </dgm:t>
    </dgm:pt>
    <dgm:pt modelId="{A07462B2-E55A-4B2F-99F1-B3F7767500D5}" type="sibTrans" cxnId="{FC8998D4-E929-42D5-B650-84D17CC9468C}">
      <dgm:prSet/>
      <dgm:spPr/>
      <dgm:t>
        <a:bodyPr/>
        <a:lstStyle/>
        <a:p>
          <a:endParaRPr lang="ru-RU"/>
        </a:p>
      </dgm:t>
    </dgm:pt>
    <dgm:pt modelId="{3E4FE381-C7DE-46F2-9723-64B26A213B32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Оптовая и розничная торгов</a:t>
          </a:r>
          <a:r>
            <a:rPr lang="ru-RU" sz="1000" dirty="0" smtClean="0">
              <a:solidFill>
                <a:schemeClr val="tx1"/>
              </a:solidFill>
              <a:latin typeface="Liberation Serif" panose="02020603050405020304" pitchFamily="18" charset="0"/>
            </a:rPr>
            <a:t>ля – 2</a:t>
          </a:r>
          <a:endParaRPr lang="ru-RU" sz="10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FCEC88B2-3D56-4E51-A11B-1BB222513B77}" type="parTrans" cxnId="{063AD461-BFAD-4D98-97D3-CC177DFA5B2B}">
      <dgm:prSet/>
      <dgm:spPr/>
      <dgm:t>
        <a:bodyPr/>
        <a:lstStyle/>
        <a:p>
          <a:endParaRPr lang="ru-RU"/>
        </a:p>
      </dgm:t>
    </dgm:pt>
    <dgm:pt modelId="{8863FC8A-E9C0-438D-B975-A74F5FA0CFAF}" type="sibTrans" cxnId="{063AD461-BFAD-4D98-97D3-CC177DFA5B2B}">
      <dgm:prSet/>
      <dgm:spPr/>
      <dgm:t>
        <a:bodyPr/>
        <a:lstStyle/>
        <a:p>
          <a:endParaRPr lang="ru-RU"/>
        </a:p>
      </dgm:t>
    </dgm:pt>
    <dgm:pt modelId="{E0E47306-9157-432D-A4EE-F2E9CF989BA3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Аренда и управление недвижимым имуществом – </a:t>
          </a:r>
          <a:r>
            <a:rPr lang="ru-RU" sz="1000" dirty="0" smtClean="0">
              <a:solidFill>
                <a:schemeClr val="tx1"/>
              </a:solidFill>
              <a:latin typeface="Liberation Serif" panose="02020603050405020304" pitchFamily="18" charset="0"/>
            </a:rPr>
            <a:t>1</a:t>
          </a:r>
          <a:endParaRPr lang="ru-RU" sz="10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31B583D4-0DA2-4491-8EFF-9B44F3E2332B}" type="parTrans" cxnId="{E3C1D9FD-570F-4C25-A2C3-9E264C189C63}">
      <dgm:prSet/>
      <dgm:spPr/>
      <dgm:t>
        <a:bodyPr/>
        <a:lstStyle/>
        <a:p>
          <a:endParaRPr lang="ru-RU"/>
        </a:p>
      </dgm:t>
    </dgm:pt>
    <dgm:pt modelId="{4AA1462F-498E-49BC-99C2-29B4AA319046}" type="sibTrans" cxnId="{E3C1D9FD-570F-4C25-A2C3-9E264C189C63}">
      <dgm:prSet/>
      <dgm:spPr/>
      <dgm:t>
        <a:bodyPr/>
        <a:lstStyle/>
        <a:p>
          <a:endParaRPr lang="ru-RU"/>
        </a:p>
      </dgm:t>
    </dgm:pt>
    <dgm:pt modelId="{379EB164-003C-488F-ABAC-38D185453B8D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Деятельность гостиниц – </a:t>
          </a:r>
          <a:r>
            <a:rPr lang="ru-RU" sz="1000" dirty="0" smtClean="0">
              <a:solidFill>
                <a:schemeClr val="tx1"/>
              </a:solidFill>
              <a:latin typeface="Liberation Serif" panose="02020603050405020304" pitchFamily="18" charset="0"/>
            </a:rPr>
            <a:t>1</a:t>
          </a:r>
          <a:endParaRPr lang="ru-RU" sz="10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7D2207E2-F997-41BE-BC43-5A6D86765B48}" type="parTrans" cxnId="{03875F8A-7679-44BF-938E-D93F523C30D0}">
      <dgm:prSet/>
      <dgm:spPr/>
      <dgm:t>
        <a:bodyPr/>
        <a:lstStyle/>
        <a:p>
          <a:endParaRPr lang="ru-RU"/>
        </a:p>
      </dgm:t>
    </dgm:pt>
    <dgm:pt modelId="{A6F52500-8341-4E43-B2C5-AB17B3648CBE}" type="sibTrans" cxnId="{03875F8A-7679-44BF-938E-D93F523C30D0}">
      <dgm:prSet/>
      <dgm:spPr/>
      <dgm:t>
        <a:bodyPr/>
        <a:lstStyle/>
        <a:p>
          <a:endParaRPr lang="ru-RU"/>
        </a:p>
      </dgm:t>
    </dgm:pt>
    <dgm:pt modelId="{455D81CB-D664-4A7C-BA6E-12AFEFBD6CD0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Логистические услуги – 1</a:t>
          </a:r>
          <a:endParaRPr lang="ru-RU" sz="9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29809505-BCF3-40B2-A2AD-1059FB7AF1DC}" type="parTrans" cxnId="{FD688578-9DB9-46EF-9737-5E86600BDCD4}">
      <dgm:prSet/>
      <dgm:spPr/>
      <dgm:t>
        <a:bodyPr/>
        <a:lstStyle/>
        <a:p>
          <a:endParaRPr lang="ru-RU"/>
        </a:p>
      </dgm:t>
    </dgm:pt>
    <dgm:pt modelId="{695B4B8B-9D34-41AD-9832-7B9F682BDA0E}" type="sibTrans" cxnId="{FD688578-9DB9-46EF-9737-5E86600BDCD4}">
      <dgm:prSet/>
      <dgm:spPr/>
      <dgm:t>
        <a:bodyPr/>
        <a:lstStyle/>
        <a:p>
          <a:endParaRPr lang="ru-RU"/>
        </a:p>
      </dgm:t>
    </dgm:pt>
    <dgm:pt modelId="{DE786C6A-0323-4053-8ED3-C3F39ADA2FB4}">
      <dgm:prSet custT="1"/>
      <dgm:spPr>
        <a:solidFill>
          <a:srgbClr val="EAEAEA"/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dirty="0" smtClean="0">
              <a:solidFill>
                <a:schemeClr val="tx1"/>
              </a:solidFill>
              <a:latin typeface="Liberation Serif" panose="02020603050405020304" pitchFamily="18" charset="0"/>
            </a:rPr>
            <a:t>Пошив изделий – 1</a:t>
          </a:r>
          <a:endParaRPr lang="ru-RU" sz="900" dirty="0">
            <a:solidFill>
              <a:schemeClr val="tx1"/>
            </a:solidFill>
            <a:latin typeface="Liberation Serif" panose="02020603050405020304" pitchFamily="18" charset="0"/>
          </a:endParaRPr>
        </a:p>
      </dgm:t>
    </dgm:pt>
    <dgm:pt modelId="{A111DFD6-A58F-4482-B107-F6E6B9711D2F}" type="parTrans" cxnId="{B3116B9F-3C78-410A-AC95-775FDC1E6AAE}">
      <dgm:prSet/>
      <dgm:spPr/>
      <dgm:t>
        <a:bodyPr/>
        <a:lstStyle/>
        <a:p>
          <a:endParaRPr lang="ru-RU"/>
        </a:p>
      </dgm:t>
    </dgm:pt>
    <dgm:pt modelId="{5710E3BD-3E5F-4017-9C84-1441A454ED53}" type="sibTrans" cxnId="{B3116B9F-3C78-410A-AC95-775FDC1E6AAE}">
      <dgm:prSet/>
      <dgm:spPr/>
      <dgm:t>
        <a:bodyPr/>
        <a:lstStyle/>
        <a:p>
          <a:endParaRPr lang="ru-RU"/>
        </a:p>
      </dgm:t>
    </dgm:pt>
    <dgm:pt modelId="{612AC627-F2D1-465B-B4D8-070540937B19}" type="pres">
      <dgm:prSet presAssocID="{D6F783F5-F794-4D63-BCE3-5D4A49BB8197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620867B3-9D91-4FB6-B27B-5F10CAB87CC4}" type="pres">
      <dgm:prSet presAssocID="{DE786C6A-0323-4053-8ED3-C3F39ADA2FB4}" presName="vertOne" presStyleCnt="0"/>
      <dgm:spPr/>
    </dgm:pt>
    <dgm:pt modelId="{3BE482E6-1F58-4D9D-B43C-B4A7D4DB94B4}" type="pres">
      <dgm:prSet presAssocID="{DE786C6A-0323-4053-8ED3-C3F39ADA2FB4}" presName="txOne" presStyleLbl="node0" presStyleIdx="0" presStyleCnt="10" custLinFactNeighborX="-2756" custLinFactNeighborY="-255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9D219C8-D55A-4F16-AB21-F0B4F176C907}" type="pres">
      <dgm:prSet presAssocID="{DE786C6A-0323-4053-8ED3-C3F39ADA2FB4}" presName="horzOne" presStyleCnt="0"/>
      <dgm:spPr/>
    </dgm:pt>
    <dgm:pt modelId="{4AF40C80-012B-439C-8627-9A8AC784702A}" type="pres">
      <dgm:prSet presAssocID="{5710E3BD-3E5F-4017-9C84-1441A454ED53}" presName="sibSpaceOne" presStyleCnt="0"/>
      <dgm:spPr/>
    </dgm:pt>
    <dgm:pt modelId="{821DB2F5-98A4-4117-A80B-8E5BA50B0244}" type="pres">
      <dgm:prSet presAssocID="{455D81CB-D664-4A7C-BA6E-12AFEFBD6CD0}" presName="vertOne" presStyleCnt="0"/>
      <dgm:spPr/>
    </dgm:pt>
    <dgm:pt modelId="{99F3CA1F-D81D-4206-B356-C73B0DD69802}" type="pres">
      <dgm:prSet presAssocID="{455D81CB-D664-4A7C-BA6E-12AFEFBD6CD0}" presName="txOne" presStyleLbl="node0" presStyleIdx="1" presStyleCnt="10" custScaleX="86270" custLinFactNeighborX="-475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869475D-C04B-4415-B9C0-AE1D9B6104CA}" type="pres">
      <dgm:prSet presAssocID="{455D81CB-D664-4A7C-BA6E-12AFEFBD6CD0}" presName="horzOne" presStyleCnt="0"/>
      <dgm:spPr/>
    </dgm:pt>
    <dgm:pt modelId="{FC4FF6D0-9B10-47E1-82A6-EFE1567DB0DE}" type="pres">
      <dgm:prSet presAssocID="{695B4B8B-9D34-41AD-9832-7B9F682BDA0E}" presName="sibSpaceOne" presStyleCnt="0"/>
      <dgm:spPr/>
    </dgm:pt>
    <dgm:pt modelId="{9980BD38-2AA0-4BD2-B045-6CA93C6E0CC8}" type="pres">
      <dgm:prSet presAssocID="{379EB164-003C-488F-ABAC-38D185453B8D}" presName="vertOne" presStyleCnt="0"/>
      <dgm:spPr/>
    </dgm:pt>
    <dgm:pt modelId="{F51E17AD-5C66-4273-ADF5-66F5CB392CE2}" type="pres">
      <dgm:prSet presAssocID="{379EB164-003C-488F-ABAC-38D185453B8D}" presName="txOne" presStyleLbl="node0" presStyleIdx="2" presStyleCnt="10" custScaleX="1012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356C4FEA-EF6A-4536-B6EB-178EC4FE0E66}" type="pres">
      <dgm:prSet presAssocID="{379EB164-003C-488F-ABAC-38D185453B8D}" presName="horzOne" presStyleCnt="0"/>
      <dgm:spPr/>
    </dgm:pt>
    <dgm:pt modelId="{599FEF12-1672-41EF-8795-EF9FA13141B1}" type="pres">
      <dgm:prSet presAssocID="{A6F52500-8341-4E43-B2C5-AB17B3648CBE}" presName="sibSpaceOne" presStyleCnt="0"/>
      <dgm:spPr/>
    </dgm:pt>
    <dgm:pt modelId="{EE69D401-65F3-4178-B239-FB4194CC3AFC}" type="pres">
      <dgm:prSet presAssocID="{E0E47306-9157-432D-A4EE-F2E9CF989BA3}" presName="vertOne" presStyleCnt="0"/>
      <dgm:spPr/>
    </dgm:pt>
    <dgm:pt modelId="{87626C8F-DD68-4039-ABD7-43667C16694A}" type="pres">
      <dgm:prSet presAssocID="{E0E47306-9157-432D-A4EE-F2E9CF989BA3}" presName="txOne" presStyleLbl="node0" presStyleIdx="3" presStyleCnt="10" custLinFactNeighborX="-4756" custLinFactNeighborY="-93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41E8E50-AE16-44BA-A90C-C723654EC1BE}" type="pres">
      <dgm:prSet presAssocID="{E0E47306-9157-432D-A4EE-F2E9CF989BA3}" presName="horzOne" presStyleCnt="0"/>
      <dgm:spPr/>
    </dgm:pt>
    <dgm:pt modelId="{B3A9DDEB-739D-4F03-940E-A7A6C99C4E53}" type="pres">
      <dgm:prSet presAssocID="{4AA1462F-498E-49BC-99C2-29B4AA319046}" presName="sibSpaceOne" presStyleCnt="0"/>
      <dgm:spPr/>
    </dgm:pt>
    <dgm:pt modelId="{FB94F93F-A353-4EFE-BBF0-657E811D83D1}" type="pres">
      <dgm:prSet presAssocID="{3E4FE381-C7DE-46F2-9723-64B26A213B32}" presName="vertOne" presStyleCnt="0"/>
      <dgm:spPr/>
    </dgm:pt>
    <dgm:pt modelId="{9D4CE022-3CB9-4AA5-8254-78C5133605B6}" type="pres">
      <dgm:prSet presAssocID="{3E4FE381-C7DE-46F2-9723-64B26A213B32}" presName="txOne" presStyleLbl="node0" presStyleIdx="4" presStyleCnt="10" custScaleX="8734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1350707-DB80-426D-A904-5FDA94605216}" type="pres">
      <dgm:prSet presAssocID="{3E4FE381-C7DE-46F2-9723-64B26A213B32}" presName="horzOne" presStyleCnt="0"/>
      <dgm:spPr/>
    </dgm:pt>
    <dgm:pt modelId="{06B8CD62-1603-407C-97DB-7331E2251259}" type="pres">
      <dgm:prSet presAssocID="{8863FC8A-E9C0-438D-B975-A74F5FA0CFAF}" presName="sibSpaceOne" presStyleCnt="0"/>
      <dgm:spPr/>
    </dgm:pt>
    <dgm:pt modelId="{77F098CD-239D-4B06-84CE-76FE1D2A3CFE}" type="pres">
      <dgm:prSet presAssocID="{80CC9417-8529-430F-A9EC-A09D8B006E27}" presName="vertOne" presStyleCnt="0"/>
      <dgm:spPr/>
    </dgm:pt>
    <dgm:pt modelId="{361CCD34-CBCA-4CA6-A14B-15DCF5DACE4D}" type="pres">
      <dgm:prSet presAssocID="{80CC9417-8529-430F-A9EC-A09D8B006E27}" presName="txOne" presStyleLbl="node0" presStyleIdx="5" presStyleCnt="10" custScaleX="95250" custLinFactNeighborX="-3520" custLinFactNeighborY="-93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2F03625-4A30-43DC-AC68-C4230AE8AC41}" type="pres">
      <dgm:prSet presAssocID="{80CC9417-8529-430F-A9EC-A09D8B006E27}" presName="horzOne" presStyleCnt="0"/>
      <dgm:spPr/>
    </dgm:pt>
    <dgm:pt modelId="{4D6B9FF8-DB15-4876-9F4B-B66BB24EAFB4}" type="pres">
      <dgm:prSet presAssocID="{A07462B2-E55A-4B2F-99F1-B3F7767500D5}" presName="sibSpaceOne" presStyleCnt="0"/>
      <dgm:spPr/>
    </dgm:pt>
    <dgm:pt modelId="{338AFBC8-F6E5-4BE8-9AAE-9B00D8C0CBF7}" type="pres">
      <dgm:prSet presAssocID="{69667C0F-245C-4951-8451-0E32ECDB8E7A}" presName="vertOne" presStyleCnt="0"/>
      <dgm:spPr/>
    </dgm:pt>
    <dgm:pt modelId="{85312FD3-9B4E-4F93-9762-C27BCE080815}" type="pres">
      <dgm:prSet presAssocID="{69667C0F-245C-4951-8451-0E32ECDB8E7A}" presName="txOne" presStyleLbl="node0" presStyleIdx="6" presStyleCnt="10" custScaleX="8190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73D6AF7-BB1B-4988-978C-9F679725D6AC}" type="pres">
      <dgm:prSet presAssocID="{69667C0F-245C-4951-8451-0E32ECDB8E7A}" presName="horzOne" presStyleCnt="0"/>
      <dgm:spPr/>
    </dgm:pt>
    <dgm:pt modelId="{F0A23FA7-3093-4B8C-A5D8-F7964C63D818}" type="pres">
      <dgm:prSet presAssocID="{872C9974-55CF-49D4-AA73-483F46D9B1D9}" presName="sibSpaceOne" presStyleCnt="0"/>
      <dgm:spPr/>
    </dgm:pt>
    <dgm:pt modelId="{E59D334E-E264-4202-B91B-5FAFD56CE466}" type="pres">
      <dgm:prSet presAssocID="{D841B759-66B1-49AC-978B-E62460C36FA3}" presName="vertOne" presStyleCnt="0"/>
      <dgm:spPr/>
    </dgm:pt>
    <dgm:pt modelId="{8D9E7353-85C2-416C-B284-5387013D05EA}" type="pres">
      <dgm:prSet presAssocID="{D841B759-66B1-49AC-978B-E62460C36FA3}" presName="txOne" presStyleLbl="node0" presStyleIdx="7" presStyleCnt="1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37731D7F-8EA7-4A1F-8B78-2E93B23C4F1D}" type="pres">
      <dgm:prSet presAssocID="{D841B759-66B1-49AC-978B-E62460C36FA3}" presName="horzOne" presStyleCnt="0"/>
      <dgm:spPr/>
    </dgm:pt>
    <dgm:pt modelId="{96249D6C-B4A6-4ACB-8F99-C17EEB86619E}" type="pres">
      <dgm:prSet presAssocID="{43FA6A4F-D6FA-47B1-95B1-74C9C4FB4DE4}" presName="sibSpaceOne" presStyleCnt="0"/>
      <dgm:spPr/>
    </dgm:pt>
    <dgm:pt modelId="{9665F575-1D39-41CE-8A44-BCBC97A05013}" type="pres">
      <dgm:prSet presAssocID="{180A921E-40E3-46DB-9B42-64D2FE5318F4}" presName="vertOne" presStyleCnt="0"/>
      <dgm:spPr/>
    </dgm:pt>
    <dgm:pt modelId="{88ED95B8-EB4B-4B87-B8D2-535F17B5A603}" type="pres">
      <dgm:prSet presAssocID="{180A921E-40E3-46DB-9B42-64D2FE5318F4}" presName="txOne" presStyleLbl="node0" presStyleIdx="8" presStyleCnt="10" custLinFactNeighborX="351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52B94CE-6EA4-4B14-942A-64E9AAAB996D}" type="pres">
      <dgm:prSet presAssocID="{180A921E-40E3-46DB-9B42-64D2FE5318F4}" presName="horzOne" presStyleCnt="0"/>
      <dgm:spPr/>
    </dgm:pt>
    <dgm:pt modelId="{DD85EEEA-C21C-4F1A-9A6F-C7F691856581}" type="pres">
      <dgm:prSet presAssocID="{3029F0E9-D552-487D-8F58-26BC7E869A6A}" presName="sibSpaceOne" presStyleCnt="0"/>
      <dgm:spPr/>
    </dgm:pt>
    <dgm:pt modelId="{C2571D94-2633-4D7A-A9DA-169B8BF9E195}" type="pres">
      <dgm:prSet presAssocID="{D61057CB-5B58-4F7C-955A-3FE939E09188}" presName="vertOne" presStyleCnt="0"/>
      <dgm:spPr/>
    </dgm:pt>
    <dgm:pt modelId="{4156FE59-2BFE-4FBC-AE06-CAFFEDB6FA75}" type="pres">
      <dgm:prSet presAssocID="{D61057CB-5B58-4F7C-955A-3FE939E09188}" presName="txOne" presStyleLbl="node0" presStyleIdx="9" presStyleCnt="10" custScaleY="10000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AF2D31B-98EF-4054-81A5-35233FE819FB}" type="pres">
      <dgm:prSet presAssocID="{D61057CB-5B58-4F7C-955A-3FE939E09188}" presName="horzOne" presStyleCnt="0"/>
      <dgm:spPr/>
    </dgm:pt>
  </dgm:ptLst>
  <dgm:cxnLst>
    <dgm:cxn modelId="{063AD461-BFAD-4D98-97D3-CC177DFA5B2B}" srcId="{D6F783F5-F794-4D63-BCE3-5D4A49BB8197}" destId="{3E4FE381-C7DE-46F2-9723-64B26A213B32}" srcOrd="4" destOrd="0" parTransId="{FCEC88B2-3D56-4E51-A11B-1BB222513B77}" sibTransId="{8863FC8A-E9C0-438D-B975-A74F5FA0CFAF}"/>
    <dgm:cxn modelId="{FF12B491-9B4A-49B9-8BA8-F0F05EB10208}" type="presOf" srcId="{455D81CB-D664-4A7C-BA6E-12AFEFBD6CD0}" destId="{99F3CA1F-D81D-4206-B356-C73B0DD69802}" srcOrd="0" destOrd="0" presId="urn:microsoft.com/office/officeart/2005/8/layout/hierarchy4"/>
    <dgm:cxn modelId="{E27E807C-EE6D-4D3B-AF19-A494BEEC7540}" type="presOf" srcId="{379EB164-003C-488F-ABAC-38D185453B8D}" destId="{F51E17AD-5C66-4273-ADF5-66F5CB392CE2}" srcOrd="0" destOrd="0" presId="urn:microsoft.com/office/officeart/2005/8/layout/hierarchy4"/>
    <dgm:cxn modelId="{8AC55F77-5679-40CF-AC1E-E3F54A6739BA}" srcId="{D6F783F5-F794-4D63-BCE3-5D4A49BB8197}" destId="{D841B759-66B1-49AC-978B-E62460C36FA3}" srcOrd="7" destOrd="0" parTransId="{950594DA-3EA7-451F-A67A-5B52B8DEF29E}" sibTransId="{43FA6A4F-D6FA-47B1-95B1-74C9C4FB4DE4}"/>
    <dgm:cxn modelId="{FD688578-9DB9-46EF-9737-5E86600BDCD4}" srcId="{D6F783F5-F794-4D63-BCE3-5D4A49BB8197}" destId="{455D81CB-D664-4A7C-BA6E-12AFEFBD6CD0}" srcOrd="1" destOrd="0" parTransId="{29809505-BCF3-40B2-A2AD-1059FB7AF1DC}" sibTransId="{695B4B8B-9D34-41AD-9832-7B9F682BDA0E}"/>
    <dgm:cxn modelId="{AE809335-86E0-4583-A057-20E0B32AB459}" type="presOf" srcId="{180A921E-40E3-46DB-9B42-64D2FE5318F4}" destId="{88ED95B8-EB4B-4B87-B8D2-535F17B5A603}" srcOrd="0" destOrd="0" presId="urn:microsoft.com/office/officeart/2005/8/layout/hierarchy4"/>
    <dgm:cxn modelId="{1A604205-FF6B-4A38-8B8A-6C2A2ED50D08}" type="presOf" srcId="{DE786C6A-0323-4053-8ED3-C3F39ADA2FB4}" destId="{3BE482E6-1F58-4D9D-B43C-B4A7D4DB94B4}" srcOrd="0" destOrd="0" presId="urn:microsoft.com/office/officeart/2005/8/layout/hierarchy4"/>
    <dgm:cxn modelId="{2D91FAD9-C02D-4EFD-9AD0-BF2F4159232A}" type="presOf" srcId="{3E4FE381-C7DE-46F2-9723-64B26A213B32}" destId="{9D4CE022-3CB9-4AA5-8254-78C5133605B6}" srcOrd="0" destOrd="0" presId="urn:microsoft.com/office/officeart/2005/8/layout/hierarchy4"/>
    <dgm:cxn modelId="{92C448A6-66AE-4C93-989F-7B541EAC8273}" type="presOf" srcId="{D6F783F5-F794-4D63-BCE3-5D4A49BB8197}" destId="{612AC627-F2D1-465B-B4D8-070540937B19}" srcOrd="0" destOrd="0" presId="urn:microsoft.com/office/officeart/2005/8/layout/hierarchy4"/>
    <dgm:cxn modelId="{B670FB95-59B9-44AA-B792-E2878232B48C}" srcId="{D6F783F5-F794-4D63-BCE3-5D4A49BB8197}" destId="{180A921E-40E3-46DB-9B42-64D2FE5318F4}" srcOrd="8" destOrd="0" parTransId="{A96385AE-109F-4CC9-AED1-AA393FF8C780}" sibTransId="{3029F0E9-D552-487D-8F58-26BC7E869A6A}"/>
    <dgm:cxn modelId="{A2D2215F-C664-4170-BC7C-45968FB27425}" srcId="{D6F783F5-F794-4D63-BCE3-5D4A49BB8197}" destId="{D61057CB-5B58-4F7C-955A-3FE939E09188}" srcOrd="9" destOrd="0" parTransId="{65C0A59F-1DFD-4323-9497-41AE2EA2E641}" sibTransId="{C12EDE4E-DF80-4FE9-9AC3-95028E183B7B}"/>
    <dgm:cxn modelId="{5AA023DA-78D9-4205-B589-536BEF5BE0E6}" type="presOf" srcId="{D841B759-66B1-49AC-978B-E62460C36FA3}" destId="{8D9E7353-85C2-416C-B284-5387013D05EA}" srcOrd="0" destOrd="0" presId="urn:microsoft.com/office/officeart/2005/8/layout/hierarchy4"/>
    <dgm:cxn modelId="{E3C1D9FD-570F-4C25-A2C3-9E264C189C63}" srcId="{D6F783F5-F794-4D63-BCE3-5D4A49BB8197}" destId="{E0E47306-9157-432D-A4EE-F2E9CF989BA3}" srcOrd="3" destOrd="0" parTransId="{31B583D4-0DA2-4491-8EFF-9B44F3E2332B}" sibTransId="{4AA1462F-498E-49BC-99C2-29B4AA319046}"/>
    <dgm:cxn modelId="{4588D187-1E2A-430F-9FF3-59704C0FFC63}" type="presOf" srcId="{80CC9417-8529-430F-A9EC-A09D8B006E27}" destId="{361CCD34-CBCA-4CA6-A14B-15DCF5DACE4D}" srcOrd="0" destOrd="0" presId="urn:microsoft.com/office/officeart/2005/8/layout/hierarchy4"/>
    <dgm:cxn modelId="{2536B25E-906C-4A40-A30C-FFA492F147CF}" type="presOf" srcId="{E0E47306-9157-432D-A4EE-F2E9CF989BA3}" destId="{87626C8F-DD68-4039-ABD7-43667C16694A}" srcOrd="0" destOrd="0" presId="urn:microsoft.com/office/officeart/2005/8/layout/hierarchy4"/>
    <dgm:cxn modelId="{03875F8A-7679-44BF-938E-D93F523C30D0}" srcId="{D6F783F5-F794-4D63-BCE3-5D4A49BB8197}" destId="{379EB164-003C-488F-ABAC-38D185453B8D}" srcOrd="2" destOrd="0" parTransId="{7D2207E2-F997-41BE-BC43-5A6D86765B48}" sibTransId="{A6F52500-8341-4E43-B2C5-AB17B3648CBE}"/>
    <dgm:cxn modelId="{FC8998D4-E929-42D5-B650-84D17CC9468C}" srcId="{D6F783F5-F794-4D63-BCE3-5D4A49BB8197}" destId="{80CC9417-8529-430F-A9EC-A09D8B006E27}" srcOrd="5" destOrd="0" parTransId="{D7367301-9380-43E1-9EF5-8F23AF0AD984}" sibTransId="{A07462B2-E55A-4B2F-99F1-B3F7767500D5}"/>
    <dgm:cxn modelId="{B3915117-BCC4-4A99-B3F1-1A52F37CCF2E}" srcId="{D6F783F5-F794-4D63-BCE3-5D4A49BB8197}" destId="{69667C0F-245C-4951-8451-0E32ECDB8E7A}" srcOrd="6" destOrd="0" parTransId="{1EE9AE69-3361-452B-971A-881704C9503B}" sibTransId="{872C9974-55CF-49D4-AA73-483F46D9B1D9}"/>
    <dgm:cxn modelId="{C6E20D33-C944-42DD-BD43-2B71C772C416}" type="presOf" srcId="{D61057CB-5B58-4F7C-955A-3FE939E09188}" destId="{4156FE59-2BFE-4FBC-AE06-CAFFEDB6FA75}" srcOrd="0" destOrd="0" presId="urn:microsoft.com/office/officeart/2005/8/layout/hierarchy4"/>
    <dgm:cxn modelId="{1C4AEDF4-BE03-4697-82F0-B6F160C8AEC7}" type="presOf" srcId="{69667C0F-245C-4951-8451-0E32ECDB8E7A}" destId="{85312FD3-9B4E-4F93-9762-C27BCE080815}" srcOrd="0" destOrd="0" presId="urn:microsoft.com/office/officeart/2005/8/layout/hierarchy4"/>
    <dgm:cxn modelId="{B3116B9F-3C78-410A-AC95-775FDC1E6AAE}" srcId="{D6F783F5-F794-4D63-BCE3-5D4A49BB8197}" destId="{DE786C6A-0323-4053-8ED3-C3F39ADA2FB4}" srcOrd="0" destOrd="0" parTransId="{A111DFD6-A58F-4482-B107-F6E6B9711D2F}" sibTransId="{5710E3BD-3E5F-4017-9C84-1441A454ED53}"/>
    <dgm:cxn modelId="{5B83BDEC-7786-44F4-8498-8DC0D56E411B}" type="presParOf" srcId="{612AC627-F2D1-465B-B4D8-070540937B19}" destId="{620867B3-9D91-4FB6-B27B-5F10CAB87CC4}" srcOrd="0" destOrd="0" presId="urn:microsoft.com/office/officeart/2005/8/layout/hierarchy4"/>
    <dgm:cxn modelId="{ABFEC158-F293-445F-9ED9-7EFD197F9494}" type="presParOf" srcId="{620867B3-9D91-4FB6-B27B-5F10CAB87CC4}" destId="{3BE482E6-1F58-4D9D-B43C-B4A7D4DB94B4}" srcOrd="0" destOrd="0" presId="urn:microsoft.com/office/officeart/2005/8/layout/hierarchy4"/>
    <dgm:cxn modelId="{784947FF-F3EA-406C-875A-5C185173349F}" type="presParOf" srcId="{620867B3-9D91-4FB6-B27B-5F10CAB87CC4}" destId="{E9D219C8-D55A-4F16-AB21-F0B4F176C907}" srcOrd="1" destOrd="0" presId="urn:microsoft.com/office/officeart/2005/8/layout/hierarchy4"/>
    <dgm:cxn modelId="{8DE511BC-64A5-4A6A-AD32-38EA69E74D9B}" type="presParOf" srcId="{612AC627-F2D1-465B-B4D8-070540937B19}" destId="{4AF40C80-012B-439C-8627-9A8AC784702A}" srcOrd="1" destOrd="0" presId="urn:microsoft.com/office/officeart/2005/8/layout/hierarchy4"/>
    <dgm:cxn modelId="{26811626-6087-48FF-B39F-CE6ADB59EB5A}" type="presParOf" srcId="{612AC627-F2D1-465B-B4D8-070540937B19}" destId="{821DB2F5-98A4-4117-A80B-8E5BA50B0244}" srcOrd="2" destOrd="0" presId="urn:microsoft.com/office/officeart/2005/8/layout/hierarchy4"/>
    <dgm:cxn modelId="{3E8DF186-D63D-414C-B729-2B8B89F2E5B1}" type="presParOf" srcId="{821DB2F5-98A4-4117-A80B-8E5BA50B0244}" destId="{99F3CA1F-D81D-4206-B356-C73B0DD69802}" srcOrd="0" destOrd="0" presId="urn:microsoft.com/office/officeart/2005/8/layout/hierarchy4"/>
    <dgm:cxn modelId="{6749E6DF-D91A-454B-80AA-A187748FB853}" type="presParOf" srcId="{821DB2F5-98A4-4117-A80B-8E5BA50B0244}" destId="{E869475D-C04B-4415-B9C0-AE1D9B6104CA}" srcOrd="1" destOrd="0" presId="urn:microsoft.com/office/officeart/2005/8/layout/hierarchy4"/>
    <dgm:cxn modelId="{8CFDAC0A-2E5F-46CB-9FB2-94A6EA4679D9}" type="presParOf" srcId="{612AC627-F2D1-465B-B4D8-070540937B19}" destId="{FC4FF6D0-9B10-47E1-82A6-EFE1567DB0DE}" srcOrd="3" destOrd="0" presId="urn:microsoft.com/office/officeart/2005/8/layout/hierarchy4"/>
    <dgm:cxn modelId="{B1F834A0-BCD0-4C1D-9E5C-B6DDCA480499}" type="presParOf" srcId="{612AC627-F2D1-465B-B4D8-070540937B19}" destId="{9980BD38-2AA0-4BD2-B045-6CA93C6E0CC8}" srcOrd="4" destOrd="0" presId="urn:microsoft.com/office/officeart/2005/8/layout/hierarchy4"/>
    <dgm:cxn modelId="{B3EBFB7A-6378-498D-9E14-CC4A97E5E7CC}" type="presParOf" srcId="{9980BD38-2AA0-4BD2-B045-6CA93C6E0CC8}" destId="{F51E17AD-5C66-4273-ADF5-66F5CB392CE2}" srcOrd="0" destOrd="0" presId="urn:microsoft.com/office/officeart/2005/8/layout/hierarchy4"/>
    <dgm:cxn modelId="{066D8650-706C-4911-B986-6A975DF232E5}" type="presParOf" srcId="{9980BD38-2AA0-4BD2-B045-6CA93C6E0CC8}" destId="{356C4FEA-EF6A-4536-B6EB-178EC4FE0E66}" srcOrd="1" destOrd="0" presId="urn:microsoft.com/office/officeart/2005/8/layout/hierarchy4"/>
    <dgm:cxn modelId="{C9B0CDC3-7509-43AD-B7BC-3DDE5D5CC78A}" type="presParOf" srcId="{612AC627-F2D1-465B-B4D8-070540937B19}" destId="{599FEF12-1672-41EF-8795-EF9FA13141B1}" srcOrd="5" destOrd="0" presId="urn:microsoft.com/office/officeart/2005/8/layout/hierarchy4"/>
    <dgm:cxn modelId="{8B6FEFF2-AACF-433F-B0A6-05EED06E5B41}" type="presParOf" srcId="{612AC627-F2D1-465B-B4D8-070540937B19}" destId="{EE69D401-65F3-4178-B239-FB4194CC3AFC}" srcOrd="6" destOrd="0" presId="urn:microsoft.com/office/officeart/2005/8/layout/hierarchy4"/>
    <dgm:cxn modelId="{49FC9CEC-234C-4DF8-89A4-F306D73404D8}" type="presParOf" srcId="{EE69D401-65F3-4178-B239-FB4194CC3AFC}" destId="{87626C8F-DD68-4039-ABD7-43667C16694A}" srcOrd="0" destOrd="0" presId="urn:microsoft.com/office/officeart/2005/8/layout/hierarchy4"/>
    <dgm:cxn modelId="{84A156D4-D50A-4C61-8BF4-057ABDAD6C61}" type="presParOf" srcId="{EE69D401-65F3-4178-B239-FB4194CC3AFC}" destId="{A41E8E50-AE16-44BA-A90C-C723654EC1BE}" srcOrd="1" destOrd="0" presId="urn:microsoft.com/office/officeart/2005/8/layout/hierarchy4"/>
    <dgm:cxn modelId="{10A5BDA8-CFE4-41EC-BD4A-5750891313D3}" type="presParOf" srcId="{612AC627-F2D1-465B-B4D8-070540937B19}" destId="{B3A9DDEB-739D-4F03-940E-A7A6C99C4E53}" srcOrd="7" destOrd="0" presId="urn:microsoft.com/office/officeart/2005/8/layout/hierarchy4"/>
    <dgm:cxn modelId="{5F3844DD-A484-4C07-94CA-9A5D155D7850}" type="presParOf" srcId="{612AC627-F2D1-465B-B4D8-070540937B19}" destId="{FB94F93F-A353-4EFE-BBF0-657E811D83D1}" srcOrd="8" destOrd="0" presId="urn:microsoft.com/office/officeart/2005/8/layout/hierarchy4"/>
    <dgm:cxn modelId="{F0980FAE-5C3F-40BF-B852-75B1231B8EF9}" type="presParOf" srcId="{FB94F93F-A353-4EFE-BBF0-657E811D83D1}" destId="{9D4CE022-3CB9-4AA5-8254-78C5133605B6}" srcOrd="0" destOrd="0" presId="urn:microsoft.com/office/officeart/2005/8/layout/hierarchy4"/>
    <dgm:cxn modelId="{4562A852-CE66-4C21-B3A3-4D011D184A1A}" type="presParOf" srcId="{FB94F93F-A353-4EFE-BBF0-657E811D83D1}" destId="{71350707-DB80-426D-A904-5FDA94605216}" srcOrd="1" destOrd="0" presId="urn:microsoft.com/office/officeart/2005/8/layout/hierarchy4"/>
    <dgm:cxn modelId="{B2D6A8F9-5607-4A95-A21E-45DE2C17436E}" type="presParOf" srcId="{612AC627-F2D1-465B-B4D8-070540937B19}" destId="{06B8CD62-1603-407C-97DB-7331E2251259}" srcOrd="9" destOrd="0" presId="urn:microsoft.com/office/officeart/2005/8/layout/hierarchy4"/>
    <dgm:cxn modelId="{D37D0B18-B7FD-4439-AD96-5316C3AAAAC7}" type="presParOf" srcId="{612AC627-F2D1-465B-B4D8-070540937B19}" destId="{77F098CD-239D-4B06-84CE-76FE1D2A3CFE}" srcOrd="10" destOrd="0" presId="urn:microsoft.com/office/officeart/2005/8/layout/hierarchy4"/>
    <dgm:cxn modelId="{93A99E28-F34C-462F-B5B1-D23D803E2E17}" type="presParOf" srcId="{77F098CD-239D-4B06-84CE-76FE1D2A3CFE}" destId="{361CCD34-CBCA-4CA6-A14B-15DCF5DACE4D}" srcOrd="0" destOrd="0" presId="urn:microsoft.com/office/officeart/2005/8/layout/hierarchy4"/>
    <dgm:cxn modelId="{353EE171-F31A-4EC0-9D7D-F6939496BD74}" type="presParOf" srcId="{77F098CD-239D-4B06-84CE-76FE1D2A3CFE}" destId="{A2F03625-4A30-43DC-AC68-C4230AE8AC41}" srcOrd="1" destOrd="0" presId="urn:microsoft.com/office/officeart/2005/8/layout/hierarchy4"/>
    <dgm:cxn modelId="{CB7D4FDA-93E5-47DA-9789-4399F338EC77}" type="presParOf" srcId="{612AC627-F2D1-465B-B4D8-070540937B19}" destId="{4D6B9FF8-DB15-4876-9F4B-B66BB24EAFB4}" srcOrd="11" destOrd="0" presId="urn:microsoft.com/office/officeart/2005/8/layout/hierarchy4"/>
    <dgm:cxn modelId="{2885F349-DEBF-4F96-90AB-EB444480C128}" type="presParOf" srcId="{612AC627-F2D1-465B-B4D8-070540937B19}" destId="{338AFBC8-F6E5-4BE8-9AAE-9B00D8C0CBF7}" srcOrd="12" destOrd="0" presId="urn:microsoft.com/office/officeart/2005/8/layout/hierarchy4"/>
    <dgm:cxn modelId="{4792DFB7-F380-4F24-801B-5D01A32F348D}" type="presParOf" srcId="{338AFBC8-F6E5-4BE8-9AAE-9B00D8C0CBF7}" destId="{85312FD3-9B4E-4F93-9762-C27BCE080815}" srcOrd="0" destOrd="0" presId="urn:microsoft.com/office/officeart/2005/8/layout/hierarchy4"/>
    <dgm:cxn modelId="{B3B150C4-083A-4A18-9ADB-FB9585FB5C1B}" type="presParOf" srcId="{338AFBC8-F6E5-4BE8-9AAE-9B00D8C0CBF7}" destId="{A73D6AF7-BB1B-4988-978C-9F679725D6AC}" srcOrd="1" destOrd="0" presId="urn:microsoft.com/office/officeart/2005/8/layout/hierarchy4"/>
    <dgm:cxn modelId="{C35CB773-E83C-45BF-A728-A4572C06A5A2}" type="presParOf" srcId="{612AC627-F2D1-465B-B4D8-070540937B19}" destId="{F0A23FA7-3093-4B8C-A5D8-F7964C63D818}" srcOrd="13" destOrd="0" presId="urn:microsoft.com/office/officeart/2005/8/layout/hierarchy4"/>
    <dgm:cxn modelId="{30980334-C566-4628-B5AF-5C8F2F68772B}" type="presParOf" srcId="{612AC627-F2D1-465B-B4D8-070540937B19}" destId="{E59D334E-E264-4202-B91B-5FAFD56CE466}" srcOrd="14" destOrd="0" presId="urn:microsoft.com/office/officeart/2005/8/layout/hierarchy4"/>
    <dgm:cxn modelId="{05A3AB78-BD94-4BB0-B241-DB1E0913ACFE}" type="presParOf" srcId="{E59D334E-E264-4202-B91B-5FAFD56CE466}" destId="{8D9E7353-85C2-416C-B284-5387013D05EA}" srcOrd="0" destOrd="0" presId="urn:microsoft.com/office/officeart/2005/8/layout/hierarchy4"/>
    <dgm:cxn modelId="{DE8FF5D6-AAC5-4BE6-A1DF-EC39CF4B2BD4}" type="presParOf" srcId="{E59D334E-E264-4202-B91B-5FAFD56CE466}" destId="{37731D7F-8EA7-4A1F-8B78-2E93B23C4F1D}" srcOrd="1" destOrd="0" presId="urn:microsoft.com/office/officeart/2005/8/layout/hierarchy4"/>
    <dgm:cxn modelId="{A5F7CE5B-9F8B-4869-8264-0B022FA502F3}" type="presParOf" srcId="{612AC627-F2D1-465B-B4D8-070540937B19}" destId="{96249D6C-B4A6-4ACB-8F99-C17EEB86619E}" srcOrd="15" destOrd="0" presId="urn:microsoft.com/office/officeart/2005/8/layout/hierarchy4"/>
    <dgm:cxn modelId="{6D95D347-BCB1-46DD-B4C0-74AE749C9E55}" type="presParOf" srcId="{612AC627-F2D1-465B-B4D8-070540937B19}" destId="{9665F575-1D39-41CE-8A44-BCBC97A05013}" srcOrd="16" destOrd="0" presId="urn:microsoft.com/office/officeart/2005/8/layout/hierarchy4"/>
    <dgm:cxn modelId="{A9CCCF8A-BE9F-4311-9573-981289CBECC8}" type="presParOf" srcId="{9665F575-1D39-41CE-8A44-BCBC97A05013}" destId="{88ED95B8-EB4B-4B87-B8D2-535F17B5A603}" srcOrd="0" destOrd="0" presId="urn:microsoft.com/office/officeart/2005/8/layout/hierarchy4"/>
    <dgm:cxn modelId="{243D603F-DF71-4163-93FA-34D84531FA30}" type="presParOf" srcId="{9665F575-1D39-41CE-8A44-BCBC97A05013}" destId="{052B94CE-6EA4-4B14-942A-64E9AAAB996D}" srcOrd="1" destOrd="0" presId="urn:microsoft.com/office/officeart/2005/8/layout/hierarchy4"/>
    <dgm:cxn modelId="{E0A447CE-FD1C-4D67-BA71-9F27C2840FB2}" type="presParOf" srcId="{612AC627-F2D1-465B-B4D8-070540937B19}" destId="{DD85EEEA-C21C-4F1A-9A6F-C7F691856581}" srcOrd="17" destOrd="0" presId="urn:microsoft.com/office/officeart/2005/8/layout/hierarchy4"/>
    <dgm:cxn modelId="{3073DE36-7CF1-4CF1-B6E3-109CF2C13790}" type="presParOf" srcId="{612AC627-F2D1-465B-B4D8-070540937B19}" destId="{C2571D94-2633-4D7A-A9DA-169B8BF9E195}" srcOrd="18" destOrd="0" presId="urn:microsoft.com/office/officeart/2005/8/layout/hierarchy4"/>
    <dgm:cxn modelId="{D2541158-5C3B-4FBA-9E1C-92587986C82C}" type="presParOf" srcId="{C2571D94-2633-4D7A-A9DA-169B8BF9E195}" destId="{4156FE59-2BFE-4FBC-AE06-CAFFEDB6FA75}" srcOrd="0" destOrd="0" presId="urn:microsoft.com/office/officeart/2005/8/layout/hierarchy4"/>
    <dgm:cxn modelId="{E2B8554F-2E2C-430E-BF50-DEF86A39D4A4}" type="presParOf" srcId="{C2571D94-2633-4D7A-A9DA-169B8BF9E195}" destId="{DAF2D31B-98EF-4054-81A5-35233FE819FB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E870CD-80E5-47D4-95CC-FBD0605AE2FA}">
      <dsp:nvSpPr>
        <dsp:cNvPr id="0" name=""/>
        <dsp:cNvSpPr/>
      </dsp:nvSpPr>
      <dsp:spPr>
        <a:xfrm>
          <a:off x="1380503" y="22450"/>
          <a:ext cx="1500909" cy="320846"/>
        </a:xfrm>
        <a:prstGeom prst="roundRect">
          <a:avLst/>
        </a:prstGeom>
        <a:solidFill>
          <a:srgbClr val="EAEAEA"/>
        </a:solidFill>
        <a:ln w="15875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Бытовые</a:t>
          </a:r>
          <a:endParaRPr lang="ru-RU" sz="1200" b="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1396165" y="38112"/>
        <a:ext cx="1469585" cy="289522"/>
      </dsp:txXfrm>
    </dsp:sp>
    <dsp:sp modelId="{6A794CD4-9BC0-4D06-AAC5-1BBFC6D3C0A5}">
      <dsp:nvSpPr>
        <dsp:cNvPr id="0" name=""/>
        <dsp:cNvSpPr/>
      </dsp:nvSpPr>
      <dsp:spPr>
        <a:xfrm>
          <a:off x="1311129" y="289430"/>
          <a:ext cx="1631347" cy="1631347"/>
        </a:xfrm>
        <a:custGeom>
          <a:avLst/>
          <a:gdLst/>
          <a:ahLst/>
          <a:cxnLst/>
          <a:rect l="0" t="0" r="0" b="0"/>
          <a:pathLst>
            <a:path>
              <a:moveTo>
                <a:pt x="1150320" y="71808"/>
              </a:moveTo>
              <a:arcTo wR="815673" hR="815673" stAng="17653310" swAng="594277"/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AFE823-1171-4CCD-98BF-5865D8358970}">
      <dsp:nvSpPr>
        <dsp:cNvPr id="0" name=""/>
        <dsp:cNvSpPr/>
      </dsp:nvSpPr>
      <dsp:spPr>
        <a:xfrm>
          <a:off x="2234894" y="457199"/>
          <a:ext cx="1335154" cy="312803"/>
        </a:xfrm>
        <a:prstGeom prst="roundRect">
          <a:avLst/>
        </a:prstGeom>
        <a:solidFill>
          <a:srgbClr val="EAEAEA"/>
        </a:solidFill>
        <a:ln w="15875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Юридические</a:t>
          </a:r>
          <a:endParaRPr lang="ru-RU" sz="12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2250164" y="472469"/>
        <a:ext cx="1304614" cy="282263"/>
      </dsp:txXfrm>
    </dsp:sp>
    <dsp:sp modelId="{BF0C7BD8-D76E-4F2E-A416-69983F797FCD}">
      <dsp:nvSpPr>
        <dsp:cNvPr id="0" name=""/>
        <dsp:cNvSpPr/>
      </dsp:nvSpPr>
      <dsp:spPr>
        <a:xfrm>
          <a:off x="1391794" y="263365"/>
          <a:ext cx="1631347" cy="1631347"/>
        </a:xfrm>
        <a:custGeom>
          <a:avLst/>
          <a:gdLst/>
          <a:ahLst/>
          <a:cxnLst/>
          <a:rect l="0" t="0" r="0" b="0"/>
          <a:pathLst>
            <a:path>
              <a:moveTo>
                <a:pt x="1613542" y="646177"/>
              </a:moveTo>
              <a:arcTo wR="815673" hR="815673" stAng="20880394" swAng="1962417"/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3D1D1-A7BF-4679-AB40-6844BF9A0555}">
      <dsp:nvSpPr>
        <dsp:cNvPr id="0" name=""/>
        <dsp:cNvSpPr/>
      </dsp:nvSpPr>
      <dsp:spPr>
        <a:xfrm>
          <a:off x="2089477" y="1498946"/>
          <a:ext cx="1374161" cy="318991"/>
        </a:xfrm>
        <a:prstGeom prst="roundRect">
          <a:avLst/>
        </a:prstGeom>
        <a:solidFill>
          <a:srgbClr val="EAEAEA"/>
        </a:solidFill>
        <a:ln w="15875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Туристические</a:t>
          </a:r>
          <a:endParaRPr lang="ru-RU" sz="12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2105049" y="1514518"/>
        <a:ext cx="1343017" cy="287847"/>
      </dsp:txXfrm>
    </dsp:sp>
    <dsp:sp modelId="{77F03C6C-C239-4622-950C-FE778A83B4CC}">
      <dsp:nvSpPr>
        <dsp:cNvPr id="0" name=""/>
        <dsp:cNvSpPr/>
      </dsp:nvSpPr>
      <dsp:spPr>
        <a:xfrm>
          <a:off x="1176279" y="413273"/>
          <a:ext cx="1631347" cy="1631347"/>
        </a:xfrm>
        <a:custGeom>
          <a:avLst/>
          <a:gdLst/>
          <a:ahLst/>
          <a:cxnLst/>
          <a:rect l="0" t="0" r="0" b="0"/>
          <a:pathLst>
            <a:path>
              <a:moveTo>
                <a:pt x="1185965" y="1542452"/>
              </a:moveTo>
              <a:arcTo wR="815673" hR="815673" stAng="3780076" swAng="3632602"/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716577-CABF-42BE-A701-FC1A219EA3B0}">
      <dsp:nvSpPr>
        <dsp:cNvPr id="0" name=""/>
        <dsp:cNvSpPr/>
      </dsp:nvSpPr>
      <dsp:spPr>
        <a:xfrm>
          <a:off x="526473" y="1423544"/>
          <a:ext cx="1413005" cy="326227"/>
        </a:xfrm>
        <a:prstGeom prst="roundRect">
          <a:avLst/>
        </a:prstGeom>
        <a:solidFill>
          <a:srgbClr val="EAEAEA"/>
        </a:solidFill>
        <a:ln w="15875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Образовательные</a:t>
          </a:r>
          <a:endParaRPr lang="ru-RU" sz="12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542398" y="1439469"/>
        <a:ext cx="1381155" cy="294377"/>
      </dsp:txXfrm>
    </dsp:sp>
    <dsp:sp modelId="{F47C8EDD-81BF-4950-A4D2-9585A1D307DC}">
      <dsp:nvSpPr>
        <dsp:cNvPr id="0" name=""/>
        <dsp:cNvSpPr/>
      </dsp:nvSpPr>
      <dsp:spPr>
        <a:xfrm>
          <a:off x="1145175" y="596903"/>
          <a:ext cx="1631347" cy="1631347"/>
        </a:xfrm>
        <a:custGeom>
          <a:avLst/>
          <a:gdLst/>
          <a:ahLst/>
          <a:cxnLst/>
          <a:rect l="0" t="0" r="0" b="0"/>
          <a:pathLst>
            <a:path>
              <a:moveTo>
                <a:pt x="5883" y="717881"/>
              </a:moveTo>
              <a:arcTo wR="815673" hR="815673" stAng="11213152" swAng="1423143"/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209CC4-BFBE-46EA-A5AD-D0E4B018FFF6}">
      <dsp:nvSpPr>
        <dsp:cNvPr id="0" name=""/>
        <dsp:cNvSpPr/>
      </dsp:nvSpPr>
      <dsp:spPr>
        <a:xfrm>
          <a:off x="609266" y="585506"/>
          <a:ext cx="1491879" cy="321967"/>
        </a:xfrm>
        <a:prstGeom prst="roundRect">
          <a:avLst/>
        </a:prstGeom>
        <a:solidFill>
          <a:srgbClr val="EAEAEA"/>
        </a:solidFill>
        <a:ln w="15875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Производственные</a:t>
          </a:r>
          <a:endParaRPr lang="ru-RU" sz="12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624983" y="601223"/>
        <a:ext cx="1460445" cy="290533"/>
      </dsp:txXfrm>
    </dsp:sp>
    <dsp:sp modelId="{EACD2E4E-71F1-44D0-91DE-5BB641200D2A}">
      <dsp:nvSpPr>
        <dsp:cNvPr id="0" name=""/>
        <dsp:cNvSpPr/>
      </dsp:nvSpPr>
      <dsp:spPr>
        <a:xfrm>
          <a:off x="1391687" y="287222"/>
          <a:ext cx="1631347" cy="1631347"/>
        </a:xfrm>
        <a:custGeom>
          <a:avLst/>
          <a:gdLst/>
          <a:ahLst/>
          <a:cxnLst/>
          <a:rect l="0" t="0" r="0" b="0"/>
          <a:pathLst>
            <a:path>
              <a:moveTo>
                <a:pt x="240496" y="237318"/>
              </a:moveTo>
              <a:arcTo wR="815673" hR="815673" stAng="13509473" swAng="1061054"/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E482E6-1F58-4D9D-B43C-B4A7D4DB94B4}">
      <dsp:nvSpPr>
        <dsp:cNvPr id="0" name=""/>
        <dsp:cNvSpPr/>
      </dsp:nvSpPr>
      <dsp:spPr>
        <a:xfrm>
          <a:off x="0" y="0"/>
          <a:ext cx="604857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Пошив изделий – 1</a:t>
          </a:r>
          <a:endParaRPr lang="ru-RU" sz="9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17716" y="17716"/>
        <a:ext cx="569425" cy="1197624"/>
      </dsp:txXfrm>
    </dsp:sp>
    <dsp:sp modelId="{99F3CA1F-D81D-4206-B356-C73B0DD69802}">
      <dsp:nvSpPr>
        <dsp:cNvPr id="0" name=""/>
        <dsp:cNvSpPr/>
      </dsp:nvSpPr>
      <dsp:spPr>
        <a:xfrm>
          <a:off x="680238" y="0"/>
          <a:ext cx="521810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Логистические услуги – 1</a:t>
          </a:r>
          <a:endParaRPr lang="ru-RU" sz="9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695521" y="15283"/>
        <a:ext cx="491244" cy="1202490"/>
      </dsp:txXfrm>
    </dsp:sp>
    <dsp:sp modelId="{F51E17AD-5C66-4273-ADF5-66F5CB392CE2}">
      <dsp:nvSpPr>
        <dsp:cNvPr id="0" name=""/>
        <dsp:cNvSpPr/>
      </dsp:nvSpPr>
      <dsp:spPr>
        <a:xfrm>
          <a:off x="1332432" y="0"/>
          <a:ext cx="612351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Деятельность гостиниц – </a:t>
          </a:r>
          <a:r>
            <a:rPr lang="ru-RU" sz="10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1</a:t>
          </a:r>
          <a:endParaRPr lang="ru-RU" sz="10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1350367" y="17935"/>
        <a:ext cx="576481" cy="1197186"/>
      </dsp:txXfrm>
    </dsp:sp>
    <dsp:sp modelId="{87626C8F-DD68-4039-ABD7-43667C16694A}">
      <dsp:nvSpPr>
        <dsp:cNvPr id="0" name=""/>
        <dsp:cNvSpPr/>
      </dsp:nvSpPr>
      <dsp:spPr>
        <a:xfrm>
          <a:off x="2017633" y="0"/>
          <a:ext cx="604857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Аренда и управление недвижимым имуществом – </a:t>
          </a:r>
          <a:r>
            <a:rPr lang="ru-RU" sz="10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1</a:t>
          </a:r>
          <a:endParaRPr lang="ru-RU" sz="10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2035349" y="17716"/>
        <a:ext cx="569425" cy="1197624"/>
      </dsp:txXfrm>
    </dsp:sp>
    <dsp:sp modelId="{9D4CE022-3CB9-4AA5-8254-78C5133605B6}">
      <dsp:nvSpPr>
        <dsp:cNvPr id="0" name=""/>
        <dsp:cNvSpPr/>
      </dsp:nvSpPr>
      <dsp:spPr>
        <a:xfrm>
          <a:off x="2752874" y="0"/>
          <a:ext cx="528319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Оптовая и розничная торгов</a:t>
          </a:r>
          <a:r>
            <a:rPr lang="ru-RU" sz="10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ля – 2</a:t>
          </a:r>
          <a:endParaRPr lang="ru-RU" sz="10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2768348" y="15474"/>
        <a:ext cx="497371" cy="1202108"/>
      </dsp:txXfrm>
    </dsp:sp>
    <dsp:sp modelId="{361CCD34-CBCA-4CA6-A14B-15DCF5DACE4D}">
      <dsp:nvSpPr>
        <dsp:cNvPr id="0" name=""/>
        <dsp:cNvSpPr/>
      </dsp:nvSpPr>
      <dsp:spPr>
        <a:xfrm>
          <a:off x="3361518" y="0"/>
          <a:ext cx="576127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Дошкольное образование – 1</a:t>
          </a:r>
          <a:endParaRPr lang="ru-RU" sz="9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3378392" y="16874"/>
        <a:ext cx="542379" cy="1199308"/>
      </dsp:txXfrm>
    </dsp:sp>
    <dsp:sp modelId="{85312FD3-9B4E-4F93-9762-C27BCE080815}">
      <dsp:nvSpPr>
        <dsp:cNvPr id="0" name=""/>
        <dsp:cNvSpPr/>
      </dsp:nvSpPr>
      <dsp:spPr>
        <a:xfrm>
          <a:off x="4060552" y="0"/>
          <a:ext cx="495384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Деятельность ресторанов – 1</a:t>
          </a:r>
          <a:endParaRPr lang="ru-RU" sz="9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4075061" y="14509"/>
        <a:ext cx="466366" cy="1204038"/>
      </dsp:txXfrm>
    </dsp:sp>
    <dsp:sp modelId="{8D9E7353-85C2-416C-B284-5387013D05EA}">
      <dsp:nvSpPr>
        <dsp:cNvPr id="0" name=""/>
        <dsp:cNvSpPr/>
      </dsp:nvSpPr>
      <dsp:spPr>
        <a:xfrm>
          <a:off x="4657553" y="0"/>
          <a:ext cx="604857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Производство – 3</a:t>
          </a:r>
          <a:endParaRPr lang="ru-RU" sz="9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4675269" y="17716"/>
        <a:ext cx="569425" cy="1197624"/>
      </dsp:txXfrm>
    </dsp:sp>
    <dsp:sp modelId="{88ED95B8-EB4B-4B87-B8D2-535F17B5A603}">
      <dsp:nvSpPr>
        <dsp:cNvPr id="0" name=""/>
        <dsp:cNvSpPr/>
      </dsp:nvSpPr>
      <dsp:spPr>
        <a:xfrm>
          <a:off x="5385306" y="0"/>
          <a:ext cx="604857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Грузоперевозки – 3</a:t>
          </a:r>
          <a:endParaRPr lang="ru-RU" sz="9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5403022" y="17716"/>
        <a:ext cx="569425" cy="1197624"/>
      </dsp:txXfrm>
    </dsp:sp>
    <dsp:sp modelId="{4156FE59-2BFE-4FBC-AE06-CAFFEDB6FA75}">
      <dsp:nvSpPr>
        <dsp:cNvPr id="0" name=""/>
        <dsp:cNvSpPr/>
      </dsp:nvSpPr>
      <dsp:spPr>
        <a:xfrm>
          <a:off x="6070501" y="0"/>
          <a:ext cx="604857" cy="1233056"/>
        </a:xfrm>
        <a:prstGeom prst="roundRect">
          <a:avLst>
            <a:gd name="adj" fmla="val 10000"/>
          </a:avLst>
        </a:prstGeom>
        <a:solidFill>
          <a:srgbClr val="EAEAEA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  <a:latin typeface="Liberation Serif" panose="02020603050405020304" pitchFamily="18" charset="0"/>
            </a:rPr>
            <a:t>Техобслуживание и ремонт автотранспортных средств – 2</a:t>
          </a:r>
          <a:endParaRPr lang="ru-RU" sz="900" kern="1200" dirty="0">
            <a:solidFill>
              <a:schemeClr val="tx1"/>
            </a:solidFill>
            <a:latin typeface="Liberation Serif" panose="02020603050405020304" pitchFamily="18" charset="0"/>
          </a:endParaRPr>
        </a:p>
      </dsp:txBody>
      <dsp:txXfrm>
        <a:off x="6088217" y="17716"/>
        <a:ext cx="569425" cy="11976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100" cy="498931"/>
          </a:xfrm>
          <a:prstGeom prst="rect">
            <a:avLst/>
          </a:prstGeom>
        </p:spPr>
        <p:txBody>
          <a:bodyPr vert="horz" lIns="91545" tIns="45774" rIns="91545" bIns="4577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1" y="1"/>
            <a:ext cx="2949100" cy="498931"/>
          </a:xfrm>
          <a:prstGeom prst="rect">
            <a:avLst/>
          </a:prstGeom>
        </p:spPr>
        <p:txBody>
          <a:bodyPr vert="horz" lIns="91545" tIns="45774" rIns="91545" bIns="45774" rtlCol="0"/>
          <a:lstStyle>
            <a:lvl1pPr algn="r">
              <a:defRPr sz="1200"/>
            </a:lvl1pPr>
          </a:lstStyle>
          <a:p>
            <a:fld id="{51573F62-6492-448C-8A90-CCD41E59ACE7}" type="datetimeFigureOut">
              <a:rPr lang="ru-RU" smtClean="0"/>
              <a:t>31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75163" cy="3357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45" tIns="45774" rIns="91545" bIns="4577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7"/>
            <a:ext cx="5444490" cy="3915491"/>
          </a:xfrm>
          <a:prstGeom prst="rect">
            <a:avLst/>
          </a:prstGeom>
        </p:spPr>
        <p:txBody>
          <a:bodyPr vert="horz" lIns="91545" tIns="45774" rIns="91545" bIns="4577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2"/>
            <a:ext cx="2949100" cy="498930"/>
          </a:xfrm>
          <a:prstGeom prst="rect">
            <a:avLst/>
          </a:prstGeom>
        </p:spPr>
        <p:txBody>
          <a:bodyPr vert="horz" lIns="91545" tIns="45774" rIns="91545" bIns="4577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1" y="9445172"/>
            <a:ext cx="2949100" cy="498930"/>
          </a:xfrm>
          <a:prstGeom prst="rect">
            <a:avLst/>
          </a:prstGeom>
        </p:spPr>
        <p:txBody>
          <a:bodyPr vert="horz" lIns="91545" tIns="45774" rIns="91545" bIns="45774" rtlCol="0" anchor="b"/>
          <a:lstStyle>
            <a:lvl1pPr algn="r">
              <a:defRPr sz="1200"/>
            </a:lvl1pPr>
          </a:lstStyle>
          <a:p>
            <a:fld id="{D87386A9-70AE-4AB8-9294-86802F3D19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52358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B76E6-FC24-4F12-86A2-9ADDBF6BDB13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07682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B76E6-FC24-4F12-86A2-9ADDBF6BDB13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92778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787" y="4800600"/>
            <a:ext cx="6856214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0" y="475073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7220" y="569214"/>
            <a:ext cx="5657850" cy="267462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6000" spc="-38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8779" y="3341716"/>
            <a:ext cx="5657850" cy="85725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1800" cap="all" spc="150" baseline="0">
                <a:solidFill>
                  <a:schemeClr val="tx2"/>
                </a:solidFill>
                <a:latin typeface="+mj-lt"/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36D99-3A03-451F-98B9-8AC796EE488C}" type="datetime1">
              <a:rPr lang="ru-RU" smtClean="0"/>
              <a:t>31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Straight Connector 8"/>
          <p:cNvCxnSpPr/>
          <p:nvPr/>
        </p:nvCxnSpPr>
        <p:spPr>
          <a:xfrm>
            <a:off x="679308" y="3257550"/>
            <a:ext cx="555498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18379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4AAE7-CC14-4E48-A71C-B8B5F500FB7A}" type="datetime1">
              <a:rPr lang="ru-RU" smtClean="0"/>
              <a:t>31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0218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787" y="4800600"/>
            <a:ext cx="6856214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0" y="475073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311085"/>
            <a:ext cx="1478756" cy="4318066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311084"/>
            <a:ext cx="4350544" cy="4318065"/>
          </a:xfrm>
        </p:spPr>
        <p:txBody>
          <a:bodyPr vert="eaVert" lIns="45720" tIns="0" rIns="4572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0B993-126E-427F-8190-6F901AA5A8BE}" type="datetime1">
              <a:rPr lang="ru-RU" smtClean="0"/>
              <a:t>31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6724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841772"/>
            <a:ext cx="58293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2701528"/>
            <a:ext cx="51435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84283-AB76-4814-955C-1725B39A77B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3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D53DF-CA4F-462E-A143-D7C933CDC9D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791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1282305"/>
            <a:ext cx="5915025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3442099"/>
            <a:ext cx="5915025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C32CF-9E80-4634-84DC-C9FD1DC9CBB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605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1369219"/>
            <a:ext cx="291465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1369219"/>
            <a:ext cx="291465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C1A08-0386-479F-B3B8-9C4CB83953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310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273845"/>
            <a:ext cx="5915025" cy="994172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1260872"/>
            <a:ext cx="2901255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1878806"/>
            <a:ext cx="2901255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1260872"/>
            <a:ext cx="2915543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1878806"/>
            <a:ext cx="2915543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83CF0-7605-4AD5-9BA0-15AF89C2B4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4481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4ACDC-7EE2-4E46-AB4A-718E9B6E10F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4092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2B818-DC07-42B7-87F5-34A85400F34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475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342900"/>
            <a:ext cx="2211884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740570"/>
            <a:ext cx="3471863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1543050"/>
            <a:ext cx="2211884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0C486-B747-4C6C-BF09-EC9F631DED9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058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DAF8A-C80A-4C34-9C0B-82E8B7901148}" type="datetime1">
              <a:rPr lang="ru-RU" smtClean="0"/>
              <a:t>31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6213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342900"/>
            <a:ext cx="2211884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740570"/>
            <a:ext cx="3471863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1543050"/>
            <a:ext cx="2211884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1D5C3-D828-4DAD-97B0-5E0A98D5DCD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6471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E151B0-38F0-475A-B2C0-AA57EE4F05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6222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273844"/>
            <a:ext cx="1478756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273844"/>
            <a:ext cx="4350544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47B98-CA38-45FB-B072-DB8A833187E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0556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6539702" y="4924835"/>
            <a:ext cx="159757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85800"/>
            <a:fld id="{42C328C1-A84F-4A39-A664-DBA00541A8C6}" type="slidenum">
              <a:rPr lang="en-US" sz="765" smtClean="0">
                <a:solidFill>
                  <a:prstClr val="black"/>
                </a:solidFill>
              </a:rPr>
              <a:pPr defTabSz="685800"/>
              <a:t>‹#›</a:t>
            </a:fld>
            <a:endParaRPr lang="en-US" sz="765" dirty="0">
              <a:solidFill>
                <a:prstClr val="black"/>
              </a:solidFill>
            </a:endParaRPr>
          </a:p>
        </p:txBody>
      </p:sp>
      <p:sp>
        <p:nvSpPr>
          <p:cNvPr id="4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506477" y="4924284"/>
            <a:ext cx="870431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45"/>
            <a:r>
              <a:rPr lang="en-US" sz="765" dirty="0">
                <a:solidFill>
                  <a:prstClr val="black"/>
                </a:solidFill>
              </a:rPr>
              <a:t>McKinsey &amp; Company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39702" y="4924835"/>
            <a:ext cx="149430" cy="116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65" b="0">
                <a:solidFill>
                  <a:srgbClr val="000000"/>
                </a:solidFill>
              </a:defRPr>
            </a:lvl1pPr>
          </a:lstStyle>
          <a:p>
            <a:fld id="{A1A38B3C-D068-4C6C-B28E-1C5B41F41EB8}" type="slidenum">
              <a:rPr lang="ru-RU">
                <a:latin typeface="Arial" pitchFamily="34" charset="0"/>
              </a:rPr>
              <a:pPr/>
              <a:t>‹#›</a:t>
            </a:fld>
            <a:r>
              <a:rPr lang="ru-RU" dirty="0">
                <a:latin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4210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787" y="4800600"/>
            <a:ext cx="6856214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0" y="475073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569214"/>
            <a:ext cx="5657850" cy="267462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6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3339846"/>
            <a:ext cx="5657850" cy="85725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1800" cap="all" spc="150" baseline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93A4F-10F2-492B-A7D3-F4AF7449F66C}" type="datetime1">
              <a:rPr lang="ru-RU" smtClean="0"/>
              <a:t>31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Straight Connector 8"/>
          <p:cNvCxnSpPr/>
          <p:nvPr/>
        </p:nvCxnSpPr>
        <p:spPr>
          <a:xfrm>
            <a:off x="679308" y="3257550"/>
            <a:ext cx="555498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9704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17220" y="214953"/>
            <a:ext cx="5657850" cy="108806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7220" y="1384301"/>
            <a:ext cx="2777490" cy="30175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97580" y="1384303"/>
            <a:ext cx="2777490" cy="30175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F15C5-D971-4ECF-86AC-11AF7A90CF29}" type="datetime1">
              <a:rPr lang="ru-RU" smtClean="0"/>
              <a:t>31.03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31133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17220" y="214953"/>
            <a:ext cx="5657850" cy="108806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384539"/>
            <a:ext cx="2777490" cy="55221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1936751"/>
            <a:ext cx="2777490" cy="24650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97580" y="1384539"/>
            <a:ext cx="2777490" cy="55221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97580" y="1936751"/>
            <a:ext cx="2777490" cy="24650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AAF97-67BF-4699-95B4-69ECBBEA42DC}" type="datetime1">
              <a:rPr lang="ru-RU" smtClean="0"/>
              <a:t>31.03.202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6024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06DEB-BC43-483F-AB5C-9C0C71F78578}" type="datetime1">
              <a:rPr lang="ru-RU" smtClean="0"/>
              <a:t>31.03.202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5352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787" y="4800600"/>
            <a:ext cx="6856214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0" y="475073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E80C9-6417-4B7B-9393-DECD0D322526}" type="datetime1">
              <a:rPr lang="ru-RU" smtClean="0"/>
              <a:t>31.03.202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9960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0" y="0"/>
            <a:ext cx="227857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72540" y="0"/>
            <a:ext cx="36005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445769"/>
            <a:ext cx="1800225" cy="1714500"/>
          </a:xfrm>
        </p:spPr>
        <p:txBody>
          <a:bodyPr anchor="b">
            <a:normAutofit/>
          </a:bodyPr>
          <a:lstStyle>
            <a:lvl1pPr>
              <a:defRPr sz="27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95178" y="548640"/>
            <a:ext cx="3757045" cy="39433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175" y="2194560"/>
            <a:ext cx="1800225" cy="2534343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125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61851" y="4844840"/>
            <a:ext cx="1472912" cy="273844"/>
          </a:xfrm>
        </p:spPr>
        <p:txBody>
          <a:bodyPr/>
          <a:lstStyle>
            <a:lvl1pPr algn="l">
              <a:defRPr/>
            </a:lvl1pPr>
          </a:lstStyle>
          <a:p>
            <a:fld id="{3929EF94-FBED-4DD7-83A0-E12B0AF316EF}" type="datetime1">
              <a:rPr lang="ru-RU" smtClean="0"/>
              <a:t>31.03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00337" y="4844840"/>
            <a:ext cx="2614613" cy="273844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9213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" y="3714750"/>
            <a:ext cx="6856214" cy="142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0" y="368630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3806190"/>
            <a:ext cx="5692140" cy="617220"/>
          </a:xfrm>
        </p:spPr>
        <p:txBody>
          <a:bodyPr tIns="0" bIns="0" anchor="b">
            <a:noAutofit/>
          </a:bodyPr>
          <a:lstStyle>
            <a:lvl1pPr>
              <a:defRPr sz="27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" y="0"/>
            <a:ext cx="6857992" cy="3686307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19" y="4430268"/>
            <a:ext cx="5692140" cy="44577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1125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13DFC-3296-4BEE-9B1A-33276CCB6E39}" type="datetime1">
              <a:rPr lang="ru-RU" smtClean="0"/>
              <a:t>31.03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33488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800600"/>
            <a:ext cx="6858001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4750737"/>
            <a:ext cx="6858001" cy="49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7220" y="214953"/>
            <a:ext cx="5657850" cy="10880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19" y="1384301"/>
            <a:ext cx="5657851" cy="301752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1" y="4844840"/>
            <a:ext cx="139065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rgbClr val="FFFFFF"/>
                </a:solidFill>
              </a:defRPr>
            </a:lvl1pPr>
          </a:lstStyle>
          <a:p>
            <a:fld id="{7DB3C476-523C-4E1C-965A-8FA3F12B9ABB}" type="datetime1">
              <a:rPr lang="ru-RU" smtClean="0"/>
              <a:t>31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73480" y="4844840"/>
            <a:ext cx="271282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 cap="all" baseline="0"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69009" y="4844840"/>
            <a:ext cx="73801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rgbClr val="FFFFFF"/>
                </a:solidFill>
              </a:defRPr>
            </a:lvl1pPr>
          </a:lstStyle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  <p:cxnSp>
        <p:nvCxnSpPr>
          <p:cNvPr id="10" name="Straight Connector 9"/>
          <p:cNvCxnSpPr/>
          <p:nvPr/>
        </p:nvCxnSpPr>
        <p:spPr>
          <a:xfrm>
            <a:off x="671362" y="1303384"/>
            <a:ext cx="560641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6555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3600" kern="1200" spc="-38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68580" indent="-68580" algn="l" defTabSz="685800" rtl="0" eaLnBrk="1" latinLnBrk="0" hangingPunct="1">
        <a:lnSpc>
          <a:spcPct val="90000"/>
        </a:lnSpc>
        <a:spcBef>
          <a:spcPts val="900"/>
        </a:spcBef>
        <a:spcAft>
          <a:spcPts val="15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28803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42519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6235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69951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8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9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1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2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273845"/>
            <a:ext cx="5915025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1369219"/>
            <a:ext cx="5915025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4767264"/>
            <a:ext cx="15430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AE936C-01E5-4E9B-B986-724779F535E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31.03.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4767264"/>
            <a:ext cx="231457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4767264"/>
            <a:ext cx="15430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286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7.png"/><Relationship Id="rId7" Type="http://schemas.openxmlformats.org/officeDocument/2006/relationships/diagramQuickStyle" Target="../diagrams/quickStyle2.xml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3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chart" Target="../charts/chart1.xml"/><Relationship Id="rId9" Type="http://schemas.microsoft.com/office/2007/relationships/diagramDrawing" Target="../diagrams/drawin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дзаголовок 2"/>
          <p:cNvSpPr txBox="1">
            <a:spLocks/>
          </p:cNvSpPr>
          <p:nvPr/>
        </p:nvSpPr>
        <p:spPr>
          <a:xfrm>
            <a:off x="-565042" y="0"/>
            <a:ext cx="8198758" cy="120167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0" y="611945"/>
            <a:ext cx="6844004" cy="120603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kern="1200" spc="-38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 smtClean="0">
                <a:solidFill>
                  <a:schemeClr val="bg1"/>
                </a:solidFill>
                <a:ea typeface="Ebrima" panose="02000000000000000000" pitchFamily="2" charset="0"/>
                <a:cs typeface="Ebrima" panose="02000000000000000000" pitchFamily="2" charset="0"/>
              </a:rPr>
              <a:t>О </a:t>
            </a:r>
            <a:r>
              <a:rPr lang="ru-RU" sz="1600" dirty="0">
                <a:solidFill>
                  <a:schemeClr val="bg1"/>
                </a:solidFill>
                <a:ea typeface="Ebrima" panose="02000000000000000000" pitchFamily="2" charset="0"/>
                <a:cs typeface="Ebrima" panose="02000000000000000000" pitchFamily="2" charset="0"/>
              </a:rPr>
              <a:t>реализации в городском округе Верхняя Пышма мероприятий по поддержке малого и среднего предпринимательства в 2020 </a:t>
            </a:r>
            <a:r>
              <a:rPr lang="ru-RU" sz="1600" dirty="0" smtClean="0">
                <a:solidFill>
                  <a:schemeClr val="bg1"/>
                </a:solidFill>
                <a:ea typeface="Ebrima" panose="02000000000000000000" pitchFamily="2" charset="0"/>
                <a:cs typeface="Ebrima" panose="02000000000000000000" pitchFamily="2" charset="0"/>
              </a:rPr>
              <a:t>году</a:t>
            </a:r>
            <a:endParaRPr lang="ru-RU" sz="1600" dirty="0">
              <a:solidFill>
                <a:schemeClr val="bg1"/>
              </a:solidFill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55225" y="4155290"/>
            <a:ext cx="3209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30.03.2021</a:t>
            </a:r>
          </a:p>
          <a:p>
            <a:pPr algn="ctr"/>
            <a:r>
              <a:rPr lang="ru-RU" sz="1200" b="1" dirty="0" smtClean="0"/>
              <a:t>г. Верхняя Пышма</a:t>
            </a:r>
            <a:endParaRPr lang="ru-RU" sz="1200" b="1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3474" y="-90739"/>
            <a:ext cx="927100" cy="115088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790" y="1813618"/>
            <a:ext cx="5004610" cy="1725363"/>
          </a:xfrm>
          <a:prstGeom prst="rect">
            <a:avLst/>
          </a:prstGeom>
          <a:noFill/>
          <a:ln>
            <a:noFill/>
          </a:ln>
          <a:effectLst>
            <a:softEdge rad="635000"/>
          </a:effec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079942" y="4869656"/>
            <a:ext cx="738014" cy="273844"/>
          </a:xfrm>
        </p:spPr>
        <p:txBody>
          <a:bodyPr/>
          <a:lstStyle/>
          <a:p>
            <a:fld id="{7383DC21-049A-4182-AB69-342E94236A54}" type="slidenum">
              <a:rPr lang="ru-RU" sz="1200" smtClean="0"/>
              <a:t>1</a:t>
            </a:fld>
            <a:endParaRPr lang="ru-RU" sz="12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813617"/>
            <a:ext cx="6858000" cy="2337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961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A8930-427D-4995-9695-AE17ADED86FC}" type="slidenum">
              <a:rPr lang="ru-RU" sz="1200" smtClean="0"/>
              <a:pPr/>
              <a:t>2</a:t>
            </a:fld>
            <a:endParaRPr lang="ru-RU" sz="12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9776"/>
            <a:ext cx="715347" cy="888017"/>
          </a:xfrm>
          <a:prstGeom prst="rect">
            <a:avLst/>
          </a:prstGeom>
        </p:spPr>
      </p:pic>
      <p:sp>
        <p:nvSpPr>
          <p:cNvPr id="7" name="Заголовок 3"/>
          <p:cNvSpPr txBox="1">
            <a:spLocks/>
          </p:cNvSpPr>
          <p:nvPr/>
        </p:nvSpPr>
        <p:spPr>
          <a:xfrm>
            <a:off x="843038" y="273653"/>
            <a:ext cx="5657850" cy="4627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spc="-38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Нормативно – правовые акты</a:t>
            </a:r>
            <a:endParaRPr lang="ru-RU" sz="2000" b="1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0" y="1409883"/>
            <a:ext cx="6858000" cy="1185167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Государственная программа Свердловской области «Повышение инвестиционной привлекательности Свердловской области до 2024 года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» финансирование составило:</a:t>
            </a:r>
            <a:b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</a:b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 - на 2019 год  - 1275,0 тыс.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рублей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(на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конкурентной основе предоставлена субсидия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СМСП на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развитие коррекционно-развивающего центра «Глаголики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»);</a:t>
            </a:r>
            <a:b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</a:b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- на 2020 год - 0 тыс. рублей; </a:t>
            </a: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- на 2021 год – 0 тыс. рублей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0" y="2671250"/>
            <a:ext cx="6858000" cy="755075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Муниципальная программа «Совершенствование социально-экономической политики на территории городского округа Верхняя Пышма до 2024 года» подпрограмма 3 «Поддержка и развитие субъектов малого и среднего предпринимательства в городском округе Верхняя Пышма до 2024 года»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0" y="3502526"/>
            <a:ext cx="6858000" cy="1173383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Подпрограмма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3 «Поддержка и развитие субъектов малого и среднего предпринимательства в городском округе Верхняя Пышма до 2024 года»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финансирование составило: </a:t>
            </a:r>
          </a:p>
          <a:p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                                   - 2018 год – 2657,5 тыс.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рублей МБ, ОБ –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1488,8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тыс. рублей; </a:t>
            </a:r>
            <a:endParaRPr lang="ru-RU" sz="1250" dirty="0" smtClean="0">
              <a:solidFill>
                <a:schemeClr val="tx1"/>
              </a:solidFill>
              <a:latin typeface="Liberation Serif" panose="02020603050405020304" pitchFamily="18" charset="0"/>
            </a:endParaRP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  -  2019 год – 2622,0 тыс. рублей МБ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, ОБ – 0 тыс. рублей; </a:t>
            </a:r>
            <a:endParaRPr lang="ru-RU" sz="1250" dirty="0" smtClean="0">
              <a:solidFill>
                <a:schemeClr val="tx1"/>
              </a:solidFill>
              <a:latin typeface="Liberation Serif" panose="02020603050405020304" pitchFamily="18" charset="0"/>
            </a:endParaRP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 - 2020 год –  3982,3 тыс. рублей МБ, ОБ – 0 тыс. рублей; </a:t>
            </a: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- 2021 год – 3700,0 тыс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.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рублей МБ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, ОБ – 0 тыс. рублей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0" y="878240"/>
            <a:ext cx="6858000" cy="455443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Указ Президента РФ от 07.05.2018 № 204 «О национальных целях и стратегических задачах развития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Российской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Ф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едерации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на период до 2024 года»</a:t>
            </a:r>
          </a:p>
        </p:txBody>
      </p:sp>
    </p:spTree>
    <p:extLst>
      <p:ext uri="{BB962C8B-B14F-4D97-AF65-F5344CB8AC3E}">
        <p14:creationId xmlns:p14="http://schemas.microsoft.com/office/powerpoint/2010/main" val="57870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15347" y="0"/>
            <a:ext cx="5879661" cy="1375295"/>
          </a:xfrm>
        </p:spPr>
        <p:txBody>
          <a:bodyPr>
            <a:noAutofit/>
          </a:bodyPr>
          <a:lstStyle/>
          <a:p>
            <a:pPr algn="ctr"/>
            <a:r>
              <a:rPr lang="ru-RU" sz="1800" b="1" dirty="0">
                <a:solidFill>
                  <a:srgbClr val="000000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В рамках подпрограммы 3 «Поддержка и развитие субъектов малого и среднего предпринимательства в городском округе Верхняя Пышма до 2024 </a:t>
            </a:r>
            <a:r>
              <a:rPr lang="ru-RU" sz="1800" b="1" dirty="0" smtClean="0">
                <a:solidFill>
                  <a:srgbClr val="000000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года» </a:t>
            </a:r>
            <a:br>
              <a:rPr lang="ru-RU" sz="1800" b="1" dirty="0" smtClean="0">
                <a:solidFill>
                  <a:srgbClr val="000000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 smtClean="0">
                <a:solidFill>
                  <a:srgbClr val="000000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800" b="1" dirty="0">
                <a:solidFill>
                  <a:srgbClr val="000000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2020 году </a:t>
            </a:r>
            <a:r>
              <a:rPr lang="ru-RU" sz="1800" b="1" dirty="0" smtClean="0">
                <a:solidFill>
                  <a:srgbClr val="000000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выполнены следующие </a:t>
            </a:r>
            <a:r>
              <a:rPr lang="ru-RU" sz="1800" b="1" dirty="0">
                <a:solidFill>
                  <a:srgbClr val="000000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мероприятия</a:t>
            </a:r>
            <a:r>
              <a:rPr lang="ru-RU" sz="1800" b="1" dirty="0" smtClean="0">
                <a:solidFill>
                  <a:srgbClr val="000000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:</a:t>
            </a:r>
            <a:br>
              <a:rPr lang="ru-RU" sz="1800" b="1" dirty="0" smtClean="0">
                <a:solidFill>
                  <a:srgbClr val="000000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</a:br>
            <a:endParaRPr lang="ru-RU" sz="1800" b="1" dirty="0">
              <a:solidFill>
                <a:srgbClr val="000000"/>
              </a:solidFill>
              <a:latin typeface="Liberation Serif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A8930-427D-4995-9695-AE17ADED86FC}" type="slidenum">
              <a:rPr lang="ru-RU" sz="1200" smtClean="0"/>
              <a:pPr/>
              <a:t>3</a:t>
            </a:fld>
            <a:endParaRPr lang="ru-RU" sz="12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9776"/>
            <a:ext cx="715347" cy="888017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17219" y="1384301"/>
            <a:ext cx="6155815" cy="3017520"/>
          </a:xfrm>
        </p:spPr>
        <p:txBody>
          <a:bodyPr/>
          <a:lstStyle/>
          <a:p>
            <a:endParaRPr lang="ru-RU" dirty="0" smtClean="0"/>
          </a:p>
          <a:p>
            <a:endParaRPr lang="ru-RU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" y="1125518"/>
            <a:ext cx="6858000" cy="587866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b="1" i="1" dirty="0" smtClean="0">
                <a:solidFill>
                  <a:srgbClr val="002060"/>
                </a:solidFill>
              </a:rPr>
              <a:t> </a:t>
            </a:r>
            <a:r>
              <a:rPr lang="ru-RU" sz="1250" dirty="0">
                <a:solidFill>
                  <a:srgbClr val="000000"/>
                </a:solidFill>
                <a:latin typeface="Liberation Serif" panose="02020603050405020304" pitchFamily="18" charset="0"/>
              </a:rPr>
              <a:t>Проведено расширенное заседание об изменениях в налоговом </a:t>
            </a:r>
            <a:r>
              <a:rPr lang="ru-RU" sz="125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законодательстве </a:t>
            </a:r>
            <a:r>
              <a:rPr lang="ru-RU" sz="1250" dirty="0">
                <a:solidFill>
                  <a:srgbClr val="000000"/>
                </a:solidFill>
                <a:latin typeface="Liberation Serif" panose="02020603050405020304" pitchFamily="18" charset="0"/>
              </a:rPr>
              <a:t>с участием специалистов  Межрайонной инспекции </a:t>
            </a:r>
            <a:r>
              <a:rPr lang="ru-RU" sz="125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Федеральной </a:t>
            </a:r>
            <a:r>
              <a:rPr lang="ru-RU" sz="1250" dirty="0">
                <a:solidFill>
                  <a:srgbClr val="000000"/>
                </a:solidFill>
                <a:latin typeface="Liberation Serif" panose="02020603050405020304" pitchFamily="18" charset="0"/>
              </a:rPr>
              <a:t>налоговой службы № 32 по Свердловской области и  </a:t>
            </a:r>
            <a:r>
              <a:rPr lang="ru-RU" sz="125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Пенсионного </a:t>
            </a:r>
            <a:r>
              <a:rPr lang="ru-RU" sz="1250" dirty="0">
                <a:solidFill>
                  <a:srgbClr val="000000"/>
                </a:solidFill>
                <a:latin typeface="Liberation Serif" panose="02020603050405020304" pitchFamily="18" charset="0"/>
              </a:rPr>
              <a:t>фонда, участие приняли 52 </a:t>
            </a:r>
            <a:r>
              <a:rPr lang="ru-RU" sz="125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человека</a:t>
            </a:r>
            <a:endParaRPr lang="ru-RU" sz="1250" dirty="0">
              <a:solidFill>
                <a:srgbClr val="000000"/>
              </a:solidFill>
              <a:latin typeface="Liberation Serif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" y="1768260"/>
            <a:ext cx="6858000" cy="594820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 dirty="0" smtClean="0">
              <a:solidFill>
                <a:schemeClr val="tx1"/>
              </a:solidFill>
              <a:latin typeface="Liberation Serif" panose="02020603050405020304" pitchFamily="18" charset="0"/>
            </a:endParaRP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Проведены тренинги семинары, мастер-классы для субъектов малого и среднего предпринимательства городского округа Верхняя Пышма и лиц, желающих открыть свое дело </a:t>
            </a:r>
            <a:b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</a:b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(в основном дистанционном формате)</a:t>
            </a:r>
          </a:p>
          <a:p>
            <a:pPr algn="ctr"/>
            <a:endParaRPr lang="ru-RU" sz="1250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0" y="2402827"/>
            <a:ext cx="6858001" cy="548118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Оказана консультационная поддержка:</a:t>
            </a: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 - Гражданам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,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желающих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открыть свое дело (108 консультации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);</a:t>
            </a: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 - Консультирование самозанятых (53 консультации)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0" y="2987800"/>
            <a:ext cx="6858000" cy="566971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 Проведены консультации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по вопросам предпринимательской деятельности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/>
            </a:r>
            <a:b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</a:b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(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государственная и муниципальная поддержка, финансовые инструменты, налоги, бухгалтерская отчетность, маркетинг, персонал, трудоустройство и прочее) (391 консультация)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0" y="3609650"/>
            <a:ext cx="6857999" cy="278016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Сформирован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электронный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каталог товаропроизводителей городского округа Верхняя Пышма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-1" y="4493552"/>
            <a:ext cx="6858000" cy="221336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Проведено 4 прямых эфира «Я- предприниматель»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0" y="3924521"/>
            <a:ext cx="6858000" cy="532176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Проведены 8 заседаний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Координационного совета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по поддержке малого и среднего предпринимательства в городском округе Верхняя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Пышма,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на которых рассмотрены актуальные вопросы в сфере малого и среднего предпринимательства</a:t>
            </a:r>
          </a:p>
        </p:txBody>
      </p:sp>
    </p:spTree>
    <p:extLst>
      <p:ext uri="{BB962C8B-B14F-4D97-AF65-F5344CB8AC3E}">
        <p14:creationId xmlns:p14="http://schemas.microsoft.com/office/powerpoint/2010/main" val="1316585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89529" y="323680"/>
            <a:ext cx="5239289" cy="1051965"/>
          </a:xfrm>
        </p:spPr>
        <p:txBody>
          <a:bodyPr>
            <a:no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Центр поддержки субъектов малого и среднего предпринимательства на территории городского округа </a:t>
            </a:r>
            <a:br>
              <a:rPr lang="ru-RU" sz="2000" b="1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</a:br>
            <a:r>
              <a:rPr lang="ru-RU" sz="2000" b="1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Верхняя Пышма (ул. Мамина - Сибиряка 2)</a:t>
            </a:r>
            <a:endParaRPr lang="ru-RU" sz="2000" b="1" dirty="0">
              <a:solidFill>
                <a:srgbClr val="000000"/>
              </a:solidFill>
              <a:latin typeface="Liberation Serif" panose="02020603050405020304" pitchFamily="18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6716" y="1267692"/>
            <a:ext cx="6569612" cy="3410456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latin typeface="Liberation Serif" panose="02020603050405020304" pitchFamily="18" charset="0"/>
              </a:rPr>
              <a:t>      </a:t>
            </a:r>
            <a:r>
              <a:rPr lang="ru-RU" sz="125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Постановлением администрации городского округа Верхняя Пышма от 20.06.2017 № 409 утвержден Порядок и условия оказания имущественной поддержки организации, образующей инфраструктуру поддержки субъектов малого и среднего предпринимательства на территории городского округа Верхняя Пышма.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5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       В Центре поддержки субъектов малого предпринимательства на территории городского округа Верхняя Пышма - размещены 10 субъектов малого и среднего предпринимательства оказывающие следующие услуги: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125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z="1200" smtClean="0"/>
              <a:t>4</a:t>
            </a:fld>
            <a:endParaRPr lang="ru-RU" sz="12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26672" cy="1152244"/>
          </a:xfrm>
          <a:prstGeom prst="rect">
            <a:avLst/>
          </a:prstGeom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623640336"/>
              </p:ext>
            </p:extLst>
          </p:nvPr>
        </p:nvGraphicFramePr>
        <p:xfrm>
          <a:off x="1385455" y="2639291"/>
          <a:ext cx="4183554" cy="19119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52418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6672" y="266700"/>
            <a:ext cx="5826552" cy="1190690"/>
          </a:xfrm>
        </p:spPr>
        <p:txBody>
          <a:bodyPr>
            <a:noAutofit/>
          </a:bodyPr>
          <a:lstStyle/>
          <a:p>
            <a:pPr algn="ctr"/>
            <a: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  <a:t>Верхнепышминский ФПП является представительством СОФПП по финансовым инструментам:</a:t>
            </a:r>
            <a:b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</a:br>
            <a: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  <a:t>-консультирование по условиям займов/виды/пакет документов, </a:t>
            </a:r>
            <a:b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</a:br>
            <a: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  <a:t>-заполнение заявки, </a:t>
            </a:r>
            <a:b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</a:br>
            <a:r>
              <a:rPr lang="ru-RU" altLang="ru-RU" sz="1350" b="1" spc="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- </a:t>
            </a:r>
            <a: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  <a:t>формирование и подписание договоров, </a:t>
            </a:r>
            <a:b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</a:br>
            <a: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  <a:t>- отчет по целевому </a:t>
            </a:r>
            <a:r>
              <a:rPr lang="ru-RU" altLang="ru-RU" sz="1350" b="1" spc="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использованию</a:t>
            </a:r>
            <a: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  <a:t/>
            </a:r>
            <a:br>
              <a:rPr lang="ru-RU" altLang="ru-RU" sz="1350" b="1" spc="0" dirty="0">
                <a:solidFill>
                  <a:srgbClr val="000000"/>
                </a:solidFill>
                <a:latin typeface="Liberation Serif" panose="02020603050405020304" pitchFamily="18" charset="0"/>
              </a:rPr>
            </a:br>
            <a:endParaRPr lang="ru-RU" sz="1350" b="1" dirty="0">
              <a:solidFill>
                <a:srgbClr val="000000"/>
              </a:solidFill>
              <a:latin typeface="Liberation Serif" panose="02020603050405020304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4822250" y="4729097"/>
            <a:ext cx="1543050" cy="273844"/>
          </a:xfrm>
        </p:spPr>
        <p:txBody>
          <a:bodyPr/>
          <a:lstStyle/>
          <a:p>
            <a:fld id="{7383DC21-049A-4182-AB69-342E94236A54}" type="slidenum">
              <a:rPr lang="ru-RU" sz="1200" smtClean="0"/>
              <a:t>5</a:t>
            </a:fld>
            <a:endParaRPr lang="ru-RU" sz="1200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4216" y="1586346"/>
            <a:ext cx="3042298" cy="186885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6852"/>
            <a:ext cx="926672" cy="1152244"/>
          </a:xfrm>
          <a:prstGeom prst="rect">
            <a:avLst/>
          </a:prstGeom>
        </p:spPr>
      </p:pic>
      <p:graphicFrame>
        <p:nvGraphicFramePr>
          <p:cNvPr id="3" name="Содержимое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4142235"/>
              </p:ext>
            </p:extLst>
          </p:nvPr>
        </p:nvGraphicFramePr>
        <p:xfrm>
          <a:off x="463336" y="1457390"/>
          <a:ext cx="2795588" cy="1997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069251585"/>
              </p:ext>
            </p:extLst>
          </p:nvPr>
        </p:nvGraphicFramePr>
        <p:xfrm>
          <a:off x="124691" y="3567545"/>
          <a:ext cx="6677891" cy="12330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4" name="Объект 13"/>
          <p:cNvSpPr>
            <a:spLocks noGrp="1"/>
          </p:cNvSpPr>
          <p:nvPr>
            <p:ph idx="1"/>
          </p:nvPr>
        </p:nvSpPr>
        <p:spPr>
          <a:xfrm>
            <a:off x="450166" y="1364566"/>
            <a:ext cx="5936347" cy="2202979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5282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z="1200" smtClean="0"/>
              <a:t>6</a:t>
            </a:fld>
            <a:endParaRPr lang="ru-RU" sz="1200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977705" y="0"/>
            <a:ext cx="5670475" cy="831849"/>
          </a:xfrm>
        </p:spPr>
        <p:txBody>
          <a:bodyPr>
            <a:noAutofit/>
          </a:bodyPr>
          <a:lstStyle/>
          <a:p>
            <a:pPr algn="ctr"/>
            <a:r>
              <a:rPr lang="ru-RU" sz="1800" b="1" dirty="0">
                <a:solidFill>
                  <a:srgbClr val="000000"/>
                </a:solidFill>
                <a:latin typeface="Liberation Serif" panose="02020603050405020304" pitchFamily="18" charset="0"/>
              </a:rPr>
              <a:t>ПОДДЕРЖКА СУБЪЕКТОВ МАЛОГО И СРЕДНЕГО ПРЕДПРИНИМАТЕЛЬСТВА В </a:t>
            </a:r>
            <a:r>
              <a:rPr lang="ru-RU" sz="1800" b="1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2020 ГОДУ</a:t>
            </a:r>
            <a:r>
              <a:rPr lang="ru-RU" sz="1800" b="1" dirty="0">
                <a:solidFill>
                  <a:srgbClr val="000000"/>
                </a:solidFill>
                <a:latin typeface="Liberation Serif" panose="02020603050405020304" pitchFamily="18" charset="0"/>
              </a:rPr>
              <a:t> </a:t>
            </a:r>
            <a:r>
              <a:rPr lang="ru-RU" sz="1800" b="1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В УСЛОВИЯХ «ПАНДЕМИИ</a:t>
            </a:r>
            <a:r>
              <a:rPr lang="ru-RU" sz="1800" b="1" dirty="0">
                <a:solidFill>
                  <a:srgbClr val="000000"/>
                </a:solidFill>
                <a:latin typeface="Liberation Serif" panose="02020603050405020304" pitchFamily="18" charset="0"/>
              </a:rPr>
              <a:t>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926672" cy="821931"/>
          </a:xfrm>
          <a:prstGeom prst="rect">
            <a:avLst/>
          </a:prstGeom>
        </p:spPr>
      </p:pic>
      <p:sp>
        <p:nvSpPr>
          <p:cNvPr id="12" name="Скругленный прямоугольник 11"/>
          <p:cNvSpPr/>
          <p:nvPr/>
        </p:nvSpPr>
        <p:spPr>
          <a:xfrm>
            <a:off x="6928" y="935411"/>
            <a:ext cx="4909730" cy="967047"/>
          </a:xfrm>
          <a:prstGeom prst="roundRect">
            <a:avLst/>
          </a:prstGeom>
          <a:solidFill>
            <a:srgbClr val="EAEAEA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Распоряжение Губернатора Свердловской области от 07.04.2020 №71-РГ  План первоочередных мер поддержки субъектов малого и среднего предпринимательства в Свердловской области, оказавшихся в зоне риска в связи с угрозой распространения новой коронавирусной инфекции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/>
            </a:r>
            <a:b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</a:b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(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2019-nCoV), в целях поддержки СМСП в городском округе Верхняя Пышма</a:t>
            </a:r>
            <a:endParaRPr lang="ru-RU" sz="100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928" y="1978979"/>
            <a:ext cx="4886816" cy="983988"/>
          </a:xfrm>
          <a:prstGeom prst="roundRect">
            <a:avLst/>
          </a:prstGeom>
          <a:solidFill>
            <a:srgbClr val="EAEAEA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Постановление 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администрации городского округа Верхняя Пышма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/>
            </a:r>
            <a:b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</a:b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от 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24.04.2020 № 351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/>
            </a:r>
            <a:b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</a:b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«План 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первоочередных мер поддержки субъектов малого и среднего предпринимательства в городском округе Верхняя Пышма, оказавшихся в зоне риска в связи с угрозой распространения  новой коронавирусной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инфекции</a:t>
            </a:r>
            <a:b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</a:b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(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2019-nCoV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)»</a:t>
            </a:r>
            <a:endParaRPr lang="ru-RU" sz="100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 flipH="1">
            <a:off x="1239212" y="3183171"/>
            <a:ext cx="320442" cy="2906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2"/>
          <p:cNvSpPr/>
          <p:nvPr/>
        </p:nvSpPr>
        <p:spPr>
          <a:xfrm>
            <a:off x="6928" y="3003618"/>
            <a:ext cx="4886816" cy="305660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О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казана поддержка СМСП 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в виде: 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05866" y="3500645"/>
            <a:ext cx="1870645" cy="467746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Отсрочка 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арендных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платежей в сумме  1,9 млн. рублей</a:t>
            </a:r>
            <a:endParaRPr lang="ru-RU" sz="100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17763" y="4064801"/>
            <a:ext cx="1858748" cy="611431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Уменьшение 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арендных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платежей 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в 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сумме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1,4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млн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. рублей</a:t>
            </a:r>
          </a:p>
        </p:txBody>
      </p:sp>
      <p:cxnSp>
        <p:nvCxnSpPr>
          <p:cNvPr id="11" name="Прямая со стрелкой 10"/>
          <p:cNvCxnSpPr/>
          <p:nvPr/>
        </p:nvCxnSpPr>
        <p:spPr>
          <a:xfrm flipH="1">
            <a:off x="1851138" y="3296021"/>
            <a:ext cx="408708" cy="8659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кругленный прямоугольник 13"/>
          <p:cNvSpPr/>
          <p:nvPr/>
        </p:nvSpPr>
        <p:spPr>
          <a:xfrm>
            <a:off x="2156444" y="3464775"/>
            <a:ext cx="1852357" cy="503616"/>
          </a:xfrm>
          <a:prstGeom prst="roundRect">
            <a:avLst/>
          </a:prstGeom>
          <a:solidFill>
            <a:srgbClr val="EAEA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Освобождение от арендных платежей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в сумме 4,2 млн. рублей</a:t>
            </a:r>
            <a:endParaRPr lang="ru-RU" sz="100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cxnSp>
        <p:nvCxnSpPr>
          <p:cNvPr id="17" name="Прямая со стрелкой 16"/>
          <p:cNvCxnSpPr/>
          <p:nvPr/>
        </p:nvCxnSpPr>
        <p:spPr>
          <a:xfrm flipH="1">
            <a:off x="4005118" y="3328501"/>
            <a:ext cx="131618" cy="1912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Скругленный прямоугольник 20"/>
          <p:cNvSpPr/>
          <p:nvPr/>
        </p:nvSpPr>
        <p:spPr>
          <a:xfrm>
            <a:off x="4281818" y="3464775"/>
            <a:ext cx="1595687" cy="1258530"/>
          </a:xfrm>
          <a:prstGeom prst="roundRect">
            <a:avLst/>
          </a:prstGeom>
          <a:solidFill>
            <a:srgbClr val="EAEA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00" dirty="0" smtClean="0">
                <a:solidFill>
                  <a:prstClr val="black"/>
                </a:solidFill>
                <a:latin typeface="Liberation Serif" panose="02020603050405020304" pitchFamily="18" charset="0"/>
              </a:rPr>
              <a:t>Предоставлена субсидия на погашение арендных платежей СМСП, занимающимся социально-значимыми видами деятельности в сумме 80,0 тыс. рублей</a:t>
            </a:r>
            <a:endParaRPr lang="ru-RU" sz="1000" dirty="0">
              <a:solidFill>
                <a:prstClr val="black"/>
              </a:solidFill>
              <a:latin typeface="Liberation Serif" panose="02020603050405020304" pitchFamily="18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169871" y="4064801"/>
            <a:ext cx="1792871" cy="611429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Освобождение </a:t>
            </a:r>
            <a:r>
              <a:rPr lang="ru-RU" sz="1000" dirty="0">
                <a:solidFill>
                  <a:schemeClr val="tx1"/>
                </a:solidFill>
                <a:latin typeface="Liberation Serif" panose="02020603050405020304" pitchFamily="18" charset="0"/>
              </a:rPr>
              <a:t>от платы за размещение в ЦПП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в 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сумме 60,0 тыс</a:t>
            </a:r>
            <a:r>
              <a:rPr lang="ru-RU" sz="1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. рублей </a:t>
            </a:r>
            <a:endParaRPr lang="ru-RU" sz="100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4581780" y="3331326"/>
            <a:ext cx="94014" cy="121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Скругленный прямоугольник 15"/>
          <p:cNvSpPr/>
          <p:nvPr/>
        </p:nvSpPr>
        <p:spPr>
          <a:xfrm>
            <a:off x="5038478" y="843369"/>
            <a:ext cx="1623452" cy="2580755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just"/>
            <a:endParaRPr lang="ru-RU" sz="1000" dirty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just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just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just"/>
            <a:endParaRPr lang="ru-RU" sz="1000" dirty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just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just"/>
            <a:endParaRPr lang="ru-RU" sz="1000" dirty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just"/>
            <a:endParaRPr lang="ru-RU" sz="1000" dirty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r>
              <a:rPr lang="ru-RU" sz="100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Решение Думы городского округа Верхняя Пышма от 25.02. 2021 года </a:t>
            </a:r>
            <a:br>
              <a:rPr lang="ru-RU" sz="100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</a:br>
            <a:r>
              <a:rPr lang="ru-RU" sz="100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№ 31/4</a:t>
            </a:r>
            <a:br>
              <a:rPr lang="ru-RU" sz="100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</a:br>
            <a:r>
              <a:rPr lang="ru-RU" sz="100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 «О предоставлении дополнительных мер поддержки субъектам малого и среднего предпринимательства, арендовавшим муниципальное недвижимое имущество городского округа Верхняя Пышма в 2020 году»</a:t>
            </a:r>
            <a:endParaRPr lang="ru-RU" sz="1000" dirty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 smtClean="0">
              <a:solidFill>
                <a:srgbClr val="000000"/>
              </a:solidFill>
              <a:latin typeface="Liberation Serif" panose="02020603050405020304" pitchFamily="18" charset="0"/>
            </a:endParaRPr>
          </a:p>
          <a:p>
            <a:pPr algn="ctr"/>
            <a:endParaRPr lang="ru-RU" sz="1000" dirty="0">
              <a:solidFill>
                <a:srgbClr val="000000"/>
              </a:solidFill>
              <a:latin typeface="Liberation Serif" panose="02020603050405020304" pitchFamily="18" charset="0"/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 flipH="1">
            <a:off x="4092073" y="3315617"/>
            <a:ext cx="189745" cy="6749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2882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7100" y="214952"/>
            <a:ext cx="5681518" cy="1004247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000" b="1" dirty="0">
                <a:solidFill>
                  <a:schemeClr val="tx1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lang="ru-RU" sz="2000" b="1" dirty="0" smtClean="0">
                <a:solidFill>
                  <a:schemeClr val="tx1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ИСЛЕННОСТЬ СМСП </a:t>
            </a:r>
            <a:br>
              <a:rPr lang="ru-RU" sz="2000" b="1" dirty="0" smtClean="0">
                <a:solidFill>
                  <a:schemeClr val="tx1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 smtClean="0">
                <a:solidFill>
                  <a:schemeClr val="tx1"/>
                </a:solidFill>
                <a:latin typeface="Liberation Serif" panose="02020603050405020304" pitchFamily="18" charset="0"/>
                <a:cs typeface="Times New Roman" panose="02020603050405020304" pitchFamily="18" charset="0"/>
              </a:rPr>
              <a:t>( по данным </a:t>
            </a:r>
            <a:r>
              <a:rPr lang="ru-RU" sz="200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единого реестра субъектов малого и среднего предпринимательства Федеральной налоговой службы</a:t>
            </a:r>
            <a:r>
              <a:rPr lang="ru-RU" sz="2000" dirty="0" smtClean="0">
                <a:solidFill>
                  <a:srgbClr val="000000"/>
                </a:solidFill>
                <a:latin typeface="Liberation Serif" panose="02020603050405020304" pitchFamily="18" charset="0"/>
              </a:rPr>
              <a:t>)</a:t>
            </a:r>
            <a:endParaRPr lang="ru-RU" sz="2000" dirty="0">
              <a:latin typeface="Liberation Serif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z="1200" smtClean="0"/>
              <a:t>7</a:t>
            </a:fld>
            <a:endParaRPr lang="ru-RU" sz="12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27100" cy="1150883"/>
          </a:xfrm>
          <a:prstGeom prst="rect">
            <a:avLst/>
          </a:prstGeom>
        </p:spPr>
      </p:pic>
      <p:sp>
        <p:nvSpPr>
          <p:cNvPr id="6" name="Объект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637961" y="1384301"/>
            <a:ext cx="1372755" cy="713304"/>
          </a:xfrm>
          <a:prstGeom prst="ellipse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b="1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01.01.2020 </a:t>
            </a:r>
            <a:endParaRPr lang="ru-RU" sz="1250" b="1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2716209" y="2724890"/>
            <a:ext cx="1295400" cy="787237"/>
          </a:xfrm>
          <a:prstGeom prst="ellipse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b="1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01.01.2021 </a:t>
            </a:r>
            <a:endParaRPr lang="ru-RU" sz="1250" b="1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cxnSp>
        <p:nvCxnSpPr>
          <p:cNvPr id="21" name="Прямая со стрелкой 20"/>
          <p:cNvCxnSpPr/>
          <p:nvPr/>
        </p:nvCxnSpPr>
        <p:spPr>
          <a:xfrm>
            <a:off x="4010716" y="1747316"/>
            <a:ext cx="47122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/>
        </p:nvSpPr>
        <p:spPr>
          <a:xfrm>
            <a:off x="4548735" y="1465845"/>
            <a:ext cx="1669472" cy="515979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Юридические лица 1636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12369" y="1452617"/>
            <a:ext cx="1627909" cy="542437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Индивидуальные предприниматели</a:t>
            </a: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2425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cxnSp>
        <p:nvCxnSpPr>
          <p:cNvPr id="31" name="Прямая со стрелкой 30"/>
          <p:cNvCxnSpPr/>
          <p:nvPr/>
        </p:nvCxnSpPr>
        <p:spPr>
          <a:xfrm flipH="1">
            <a:off x="2240278" y="1747316"/>
            <a:ext cx="3976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>
            <a:off x="3323584" y="2011586"/>
            <a:ext cx="1" cy="236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Скругленный прямоугольник 34"/>
          <p:cNvSpPr/>
          <p:nvPr/>
        </p:nvSpPr>
        <p:spPr>
          <a:xfrm>
            <a:off x="2446046" y="2262707"/>
            <a:ext cx="1835727" cy="376584"/>
          </a:xfrm>
          <a:prstGeom prst="roundRect">
            <a:avLst>
              <a:gd name="adj" fmla="val 0"/>
            </a:avLst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Самозанятые </a:t>
            </a:r>
          </a:p>
          <a:p>
            <a:pPr algn="ctr"/>
            <a:r>
              <a:rPr lang="ru-RU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478307" y="2895599"/>
            <a:ext cx="1739900" cy="561109"/>
          </a:xfrm>
          <a:prstGeom prst="roundRect">
            <a:avLst/>
          </a:prstGeom>
          <a:solidFill>
            <a:srgbClr val="EAEA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Юридические лица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1617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cxnSp>
        <p:nvCxnSpPr>
          <p:cNvPr id="39" name="Прямая со стрелкой 38"/>
          <p:cNvCxnSpPr/>
          <p:nvPr/>
        </p:nvCxnSpPr>
        <p:spPr>
          <a:xfrm>
            <a:off x="4010716" y="3112714"/>
            <a:ext cx="3881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 flipH="1">
            <a:off x="2240278" y="3112714"/>
            <a:ext cx="47593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3323584" y="3512127"/>
            <a:ext cx="0" cy="2632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Скругленный прямоугольник 44"/>
          <p:cNvSpPr/>
          <p:nvPr/>
        </p:nvSpPr>
        <p:spPr>
          <a:xfrm>
            <a:off x="2542309" y="3837708"/>
            <a:ext cx="1586346" cy="461655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Самозанятые</a:t>
            </a: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1015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665019" y="2895599"/>
            <a:ext cx="1518396" cy="561110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Индивидуальные предприниматели</a:t>
            </a: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2540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731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6672" y="230255"/>
            <a:ext cx="5834346" cy="623247"/>
          </a:xfrm>
        </p:spPr>
        <p:txBody>
          <a:bodyPr>
            <a:normAutofit/>
          </a:bodyPr>
          <a:lstStyle/>
          <a:p>
            <a:pPr algn="ctr"/>
            <a:r>
              <a:rPr lang="ru-RU" sz="2000" b="1" dirty="0" smtClean="0">
                <a:latin typeface="Liberation Serif" panose="02020603050405020304" pitchFamily="18" charset="0"/>
              </a:rPr>
              <a:t>МЕРОПРИЯТИЯ НА 2021 ГОД</a:t>
            </a:r>
            <a:endParaRPr lang="ru-RU" sz="2000" b="1" dirty="0">
              <a:latin typeface="Liberation Serif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z="1200" smtClean="0"/>
              <a:t>8</a:t>
            </a:fld>
            <a:endParaRPr lang="ru-RU" sz="12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26672" cy="1152244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0" y="2703677"/>
            <a:ext cx="6858000" cy="385887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Изготовление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каталога предпринимателей, оказывающих услуги в городском округе </a:t>
            </a:r>
            <a:b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</a:b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Верхняя Пышма 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0" y="1276934"/>
            <a:ext cx="6858000" cy="320346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Популяризация продукции/услуг субъектов малого и среднего предпринимательства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" y="2020712"/>
            <a:ext cx="6857999" cy="259534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Проект «Бизнес сообщество городского округа Верхняя Пышма»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0" y="2339762"/>
            <a:ext cx="6858000" cy="304399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Проект «Коллаборация предпринимателей»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56797"/>
            <a:ext cx="6858000" cy="376959"/>
          </a:xfrm>
          <a:prstGeom prst="rect">
            <a:avLst/>
          </a:prstGeom>
        </p:spPr>
      </p:pic>
      <p:sp>
        <p:nvSpPr>
          <p:cNvPr id="18" name="Скругленный прямоугольник 17"/>
          <p:cNvSpPr/>
          <p:nvPr/>
        </p:nvSpPr>
        <p:spPr>
          <a:xfrm>
            <a:off x="0" y="3149080"/>
            <a:ext cx="6858000" cy="639290"/>
          </a:xfrm>
          <a:prstGeom prst="roundRect">
            <a:avLst/>
          </a:prstGeom>
          <a:solidFill>
            <a:srgbClr val="EAEA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 dirty="0" smtClean="0">
              <a:solidFill>
                <a:schemeClr val="tx1"/>
              </a:solidFill>
              <a:latin typeface="Liberation Serif" panose="02020603050405020304" pitchFamily="18" charset="0"/>
            </a:endParaRP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Проведение различных мероприятий,(9 мая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,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День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российского предпринимательства,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День города и ряд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других мероприятий) 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  <a:p>
            <a:pPr algn="ctr"/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 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0" y="3913910"/>
            <a:ext cx="6858000" cy="491836"/>
          </a:xfrm>
          <a:prstGeom prst="roundRect">
            <a:avLst/>
          </a:prstGeom>
          <a:solidFill>
            <a:srgbClr val="EAEA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50" dirty="0">
                <a:latin typeface="Liberation Serif" panose="02020603050405020304" pitchFamily="18" charset="0"/>
              </a:rPr>
              <a:t>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Взаимодействие предпринимательского сообщества (бизнес – завтраки, бизнес – 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разборы, м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астермайнды</a:t>
            </a:r>
            <a:r>
              <a:rPr lang="ru-RU" sz="1250" dirty="0">
                <a:solidFill>
                  <a:schemeClr val="tx1"/>
                </a:solidFill>
                <a:latin typeface="Liberation Serif" panose="02020603050405020304" pitchFamily="18" charset="0"/>
              </a:rPr>
              <a:t>,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нетворкинги и ряд </a:t>
            </a:r>
            <a:r>
              <a:rPr lang="ru-RU" sz="1250" dirty="0" smtClean="0">
                <a:solidFill>
                  <a:schemeClr val="tx1"/>
                </a:solidFill>
                <a:latin typeface="Liberation Serif" panose="02020603050405020304" pitchFamily="18" charset="0"/>
              </a:rPr>
              <a:t>других информационных взаимодействий)</a:t>
            </a:r>
            <a:endParaRPr lang="ru-RU" sz="1250" dirty="0">
              <a:solidFill>
                <a:schemeClr val="tx1"/>
              </a:solidFill>
              <a:latin typeface="Liberation Serif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26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дзаголовок 2"/>
          <p:cNvSpPr txBox="1">
            <a:spLocks/>
          </p:cNvSpPr>
          <p:nvPr/>
        </p:nvSpPr>
        <p:spPr>
          <a:xfrm>
            <a:off x="-565042" y="0"/>
            <a:ext cx="8198758" cy="120167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3996" y="1"/>
            <a:ext cx="6844004" cy="73400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kern="1200" spc="-38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1600" dirty="0">
              <a:solidFill>
                <a:schemeClr val="bg1"/>
              </a:solidFill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4067"/>
            <a:ext cx="665584" cy="826242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9</a:t>
            </a:fld>
            <a:endParaRPr lang="ru-RU" dirty="0"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62204" y="2432178"/>
            <a:ext cx="6858000" cy="33119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 smtClean="0">
                <a:solidFill>
                  <a:srgbClr val="030395"/>
                </a:solidFill>
                <a:latin typeface="+mn-lt"/>
                <a:ea typeface="+mn-ea"/>
                <a:cs typeface="+mn-cs"/>
              </a:rPr>
              <a:t>БЛАГОДАРЮ ЗА ВНИМАНИЕ!</a:t>
            </a:r>
            <a:endParaRPr lang="ru-RU" sz="1800" b="1" dirty="0">
              <a:solidFill>
                <a:srgbClr val="030395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3709" y="4681662"/>
            <a:ext cx="2182557" cy="445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20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POEq4ppdIUKksL0_qduF.g"/>
</p:tagLst>
</file>

<file path=ppt/theme/theme1.xml><?xml version="1.0" encoding="utf-8"?>
<a:theme xmlns:a="http://schemas.openxmlformats.org/drawingml/2006/main" name="Ретро">
  <a:themeElements>
    <a:clrScheme name="Теплый синий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Ретр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Ретр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21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6528</TotalTime>
  <Words>714</Words>
  <Application>Microsoft Office PowerPoint</Application>
  <PresentationFormat>Произвольный</PresentationFormat>
  <Paragraphs>106</Paragraphs>
  <Slides>9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Ebrima</vt:lpstr>
      <vt:lpstr>Liberation Serif</vt:lpstr>
      <vt:lpstr>Times New Roman</vt:lpstr>
      <vt:lpstr>Ретро</vt:lpstr>
      <vt:lpstr>21_Office Theme</vt:lpstr>
      <vt:lpstr>Презентация PowerPoint</vt:lpstr>
      <vt:lpstr>Презентация PowerPoint</vt:lpstr>
      <vt:lpstr>В рамках подпрограммы 3 «Поддержка и развитие субъектов малого и среднего предпринимательства в городском округе Верхняя Пышма до 2024 года»  в 2020 году выполнены следующие мероприятия: </vt:lpstr>
      <vt:lpstr>Центр поддержки субъектов малого и среднего предпринимательства на территории городского округа  Верхняя Пышма (ул. Мамина - Сибиряка 2)</vt:lpstr>
      <vt:lpstr>Верхнепышминский ФПП является представительством СОФПП по финансовым инструментам: -консультирование по условиям займов/виды/пакет документов,  -заполнение заявки,  - формирование и подписание договоров,  - отчет по целевому использованию </vt:lpstr>
      <vt:lpstr>ПОДДЕРЖКА СУБЪЕКТОВ МАЛОГО И СРЕДНЕГО ПРЕДПРИНИМАТЕЛЬСТВА В 2020 ГОДУ В УСЛОВИЯХ «ПАНДЕМИИ»</vt:lpstr>
      <vt:lpstr>ЧИСЛЕННОСТЬ СМСП  ( по данным единого реестра субъектов малого и среднего предпринимательства Федеральной налоговой службы)</vt:lpstr>
      <vt:lpstr>МЕРОПРИЯТИЯ НА 2021 ГОД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lalikina</dc:creator>
  <cp:lastModifiedBy>Полухина Маргарита Витальевна</cp:lastModifiedBy>
  <cp:revision>972</cp:revision>
  <cp:lastPrinted>2021-03-31T09:48:05Z</cp:lastPrinted>
  <dcterms:created xsi:type="dcterms:W3CDTF">2017-05-18T08:37:46Z</dcterms:created>
  <dcterms:modified xsi:type="dcterms:W3CDTF">2021-03-31T10:05:25Z</dcterms:modified>
</cp:coreProperties>
</file>